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4"/>
  </p:notesMasterIdLst>
  <p:handoutMasterIdLst>
    <p:handoutMasterId r:id="rId25"/>
  </p:handoutMasterIdLst>
  <p:sldIdLst>
    <p:sldId id="256" r:id="rId2"/>
    <p:sldId id="270" r:id="rId3"/>
    <p:sldId id="314" r:id="rId4"/>
    <p:sldId id="315" r:id="rId5"/>
    <p:sldId id="306" r:id="rId6"/>
    <p:sldId id="308" r:id="rId7"/>
    <p:sldId id="316" r:id="rId8"/>
    <p:sldId id="324" r:id="rId9"/>
    <p:sldId id="313" r:id="rId10"/>
    <p:sldId id="318" r:id="rId11"/>
    <p:sldId id="319" r:id="rId12"/>
    <p:sldId id="320" r:id="rId13"/>
    <p:sldId id="325" r:id="rId14"/>
    <p:sldId id="322" r:id="rId15"/>
    <p:sldId id="323" r:id="rId16"/>
    <p:sldId id="326" r:id="rId17"/>
    <p:sldId id="329" r:id="rId18"/>
    <p:sldId id="307" r:id="rId19"/>
    <p:sldId id="311" r:id="rId20"/>
    <p:sldId id="310" r:id="rId21"/>
    <p:sldId id="327" r:id="rId22"/>
    <p:sldId id="328" r:id="rId23"/>
  </p:sldIdLst>
  <p:sldSz cx="9144000" cy="6858000" type="screen4x3"/>
  <p:notesSz cx="6797675" cy="992822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Лукашенко Елена Сергеевна" initials="ЛЕС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00CC00"/>
    <a:srgbClr val="FFFFFF"/>
    <a:srgbClr val="CF8DA6"/>
    <a:srgbClr val="E1D0CA"/>
    <a:srgbClr val="C8102E"/>
    <a:srgbClr val="66FF99"/>
    <a:srgbClr val="FF1111"/>
    <a:srgbClr val="EE0000"/>
    <a:srgbClr val="4F81B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115" d="100"/>
          <a:sy n="115" d="100"/>
        </p:scale>
        <p:origin x="588" y="11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commentAuthors" Target="commentAuthor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9688" y="1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E43A67E-5632-406B-8BB1-08C2CF664E94}" type="datetimeFigureOut">
              <a:rPr lang="ru-RU" smtClean="0"/>
              <a:pPr/>
              <a:t>17.10.2016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9751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9688" y="9429751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976E5AB-B347-47DA-A068-294FD88C3CF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1294939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4" y="2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7" y="2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0887EEA-A31B-478A-AEC6-89A06382E0DA}" type="datetimeFigureOut">
              <a:rPr lang="ru-RU" smtClean="0"/>
              <a:pPr/>
              <a:t>17.10.2016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4" y="9430093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7" y="9430093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F491259-4303-470D-BF02-3FB3C5960DD9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8751741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833"/>
          <a:stretch/>
        </p:blipFill>
        <p:spPr>
          <a:xfrm>
            <a:off x="230139" y="258793"/>
            <a:ext cx="4845917" cy="6375734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5724128" y="3140968"/>
            <a:ext cx="2734072" cy="147002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 b="1"/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64D79F21-44E2-4B0D-8CB1-9AFD631F4C1E}" type="datetimeFigureOut">
              <a:rPr lang="ru-RU" smtClean="0"/>
              <a:pPr/>
              <a:t>17.10.2016</a:t>
            </a:fld>
            <a:endParaRPr lang="ru-RU"/>
          </a:p>
        </p:txBody>
      </p:sp>
      <p:pic>
        <p:nvPicPr>
          <p:cNvPr id="8" name="Picture 2" descr="Безымянный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88024" y="258793"/>
            <a:ext cx="2448272" cy="5779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Box 8"/>
          <p:cNvSpPr txBox="1"/>
          <p:nvPr userDrawn="1"/>
        </p:nvSpPr>
        <p:spPr>
          <a:xfrm>
            <a:off x="232220" y="2924944"/>
            <a:ext cx="1605205" cy="659294"/>
          </a:xfrm>
          <a:prstGeom prst="rect">
            <a:avLst/>
          </a:prstGeom>
          <a:noFill/>
        </p:spPr>
        <p:txBody>
          <a:bodyPr wrap="none" lIns="104278" tIns="52139" rIns="104278" bIns="52139" rtlCol="0"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епартамент</a:t>
            </a:r>
          </a:p>
          <a:p>
            <a:r>
              <a:rPr lang="ru-RU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лиринга</a:t>
            </a:r>
            <a:endParaRPr lang="ru-RU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187760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64D79F21-44E2-4B0D-8CB1-9AFD631F4C1E}" type="datetimeFigureOut">
              <a:rPr lang="ru-RU" smtClean="0"/>
              <a:pPr/>
              <a:t>17.10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882584C-6866-48D0-A87A-36F6604A4B4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807877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64D79F21-44E2-4B0D-8CB1-9AFD631F4C1E}" type="datetimeFigureOut">
              <a:rPr lang="ru-RU" smtClean="0"/>
              <a:pPr/>
              <a:t>17.10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882584C-6866-48D0-A87A-36F6604A4B4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1114273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64D79F21-44E2-4B0D-8CB1-9AFD631F4C1E}" type="datetimeFigureOut">
              <a:rPr lang="ru-RU" smtClean="0"/>
              <a:pPr/>
              <a:t>17.10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882584C-6866-48D0-A87A-36F6604A4B4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855785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64D79F21-44E2-4B0D-8CB1-9AFD631F4C1E}" type="datetimeFigureOut">
              <a:rPr lang="ru-RU" smtClean="0"/>
              <a:pPr/>
              <a:t>17.10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882584C-6866-48D0-A87A-36F6604A4B4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108679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64D79F21-44E2-4B0D-8CB1-9AFD631F4C1E}" type="datetimeFigureOut">
              <a:rPr lang="ru-RU" smtClean="0"/>
              <a:pPr/>
              <a:t>17.10.2016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882584C-6866-48D0-A87A-36F6604A4B4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455152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64D79F21-44E2-4B0D-8CB1-9AFD631F4C1E}" type="datetimeFigureOut">
              <a:rPr lang="ru-RU" smtClean="0"/>
              <a:pPr/>
              <a:t>17.10.2016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882584C-6866-48D0-A87A-36F6604A4B4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664527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64D79F21-44E2-4B0D-8CB1-9AFD631F4C1E}" type="datetimeFigureOut">
              <a:rPr lang="ru-RU" smtClean="0"/>
              <a:pPr/>
              <a:t>17.10.2016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882584C-6866-48D0-A87A-36F6604A4B4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7931117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64D79F21-44E2-4B0D-8CB1-9AFD631F4C1E}" type="datetimeFigureOut">
              <a:rPr lang="ru-RU" smtClean="0"/>
              <a:pPr/>
              <a:t>17.10.2016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882584C-6866-48D0-A87A-36F6604A4B4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681275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64D79F21-44E2-4B0D-8CB1-9AFD631F4C1E}" type="datetimeFigureOut">
              <a:rPr lang="ru-RU" smtClean="0"/>
              <a:pPr/>
              <a:t>17.10.2016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882584C-6866-48D0-A87A-36F6604A4B4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3000427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64D79F21-44E2-4B0D-8CB1-9AFD631F4C1E}" type="datetimeFigureOut">
              <a:rPr lang="ru-RU" smtClean="0"/>
              <a:pPr/>
              <a:t>17.10.2016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882584C-6866-48D0-A87A-36F6604A4B4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5018299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62300" y="116632"/>
            <a:ext cx="261228" cy="662473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8" name="Picture 2" descr="Безымянный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2" y="6334151"/>
            <a:ext cx="1687979" cy="4072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344854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iming>
    <p:tnLst>
      <p:par>
        <p:cTn id="1" dur="indefinite" restart="never" nodeType="tmRoot"/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slideLayout" Target="../slideLayouts/slideLayout7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mailto:ps@moex.com" TargetMode="External"/><Relationship Id="rId2" Type="http://schemas.openxmlformats.org/officeDocument/2006/relationships/hyperlink" Target="mailto:ccl@moex.com" TargetMode="Externa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hyperlink" Target="mailto:ps@moex.com" TargetMode="Externa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mailto:oibd@moex.com" TargetMode="External"/><Relationship Id="rId2" Type="http://schemas.openxmlformats.org/officeDocument/2006/relationships/hyperlink" Target="http://nkcbank.ru/viewCatalog.do?menuKey=483" TargetMode="External"/><Relationship Id="rId1" Type="http://schemas.openxmlformats.org/officeDocument/2006/relationships/slideLayout" Target="../slideLayouts/slideLayout2.xml"/><Relationship Id="rId4" Type="http://schemas.openxmlformats.org/officeDocument/2006/relationships/hyperlink" Target="mailto:ccl@moex.com" TargetMode="Externa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5364088" y="4005064"/>
            <a:ext cx="3456384" cy="1656184"/>
          </a:xfrm>
        </p:spPr>
        <p:txBody>
          <a:bodyPr>
            <a:normAutofit fontScale="90000"/>
          </a:bodyPr>
          <a:lstStyle/>
          <a:p>
            <a:pPr algn="l"/>
            <a:r>
              <a:rPr lang="ru-RU" sz="2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лиринговый терминал:</a:t>
            </a:r>
            <a:br>
              <a:rPr lang="ru-RU" sz="2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ru-RU" sz="20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овая система документооборота </a:t>
            </a:r>
            <a:br>
              <a:rPr lang="ru-RU" sz="20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ru-RU" sz="20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ежду участниками клиринга и НКЦ</a:t>
            </a:r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ru-RU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033818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571959" y="144261"/>
            <a:ext cx="5428089" cy="7386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абота в системе </a:t>
            </a:r>
            <a:r>
              <a:rPr lang="en-US" sz="2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EB-</a:t>
            </a:r>
            <a:r>
              <a:rPr lang="ru-RU" sz="2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лиринг </a:t>
            </a:r>
          </a:p>
          <a:p>
            <a:r>
              <a:rPr lang="ru-RU" b="1" i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Главное меню: Группы запросов</a:t>
            </a:r>
            <a:endParaRPr lang="ru-RU" b="1" i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0318" y="980728"/>
            <a:ext cx="8057782" cy="51845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26436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571959" y="144261"/>
            <a:ext cx="5428089" cy="7386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абота в системе </a:t>
            </a:r>
            <a:r>
              <a:rPr lang="en-US" sz="2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EB-</a:t>
            </a:r>
            <a:r>
              <a:rPr lang="ru-RU" sz="2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лиринг </a:t>
            </a:r>
          </a:p>
          <a:p>
            <a:r>
              <a:rPr lang="ru-RU" b="1" i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Главное меню: Группы запросов</a:t>
            </a:r>
            <a:endParaRPr lang="ru-RU" b="1" i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571958" y="919463"/>
            <a:ext cx="381642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се запросы разделены на группы:</a:t>
            </a:r>
          </a:p>
        </p:txBody>
      </p:sp>
      <p:grpSp>
        <p:nvGrpSpPr>
          <p:cNvPr id="19" name="Группа 18"/>
          <p:cNvGrpSpPr/>
          <p:nvPr/>
        </p:nvGrpSpPr>
        <p:grpSpPr>
          <a:xfrm>
            <a:off x="571958" y="1340768"/>
            <a:ext cx="8104498" cy="4606416"/>
            <a:chOff x="571958" y="1340768"/>
            <a:chExt cx="8104498" cy="4606416"/>
          </a:xfrm>
        </p:grpSpPr>
        <p:sp>
          <p:nvSpPr>
            <p:cNvPr id="15" name="TextBox 14"/>
            <p:cNvSpPr txBox="1"/>
            <p:nvPr/>
          </p:nvSpPr>
          <p:spPr>
            <a:xfrm>
              <a:off x="599747" y="5362409"/>
              <a:ext cx="2304257" cy="584775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</p:spPr>
          <p:txBody>
            <a:bodyPr wrap="square" rtlCol="0">
              <a:spAutoFit/>
            </a:bodyPr>
            <a:lstStyle/>
            <a:p>
              <a:r>
                <a:rPr lang="ru-RU" sz="16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Операции с </a:t>
              </a:r>
              <a:r>
                <a:rPr lang="ru-RU" sz="1600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тарифами (ВР)</a:t>
              </a:r>
              <a:endPara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3" name="TextBox 2"/>
            <p:cNvSpPr txBox="1"/>
            <p:nvPr/>
          </p:nvSpPr>
          <p:spPr>
            <a:xfrm>
              <a:off x="571959" y="1340768"/>
              <a:ext cx="2304257" cy="830997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</p:spPr>
          <p:txBody>
            <a:bodyPr wrap="square" rtlCol="0">
              <a:spAutoFit/>
            </a:bodyPr>
            <a:lstStyle/>
            <a:p>
              <a:r>
                <a:rPr lang="ru-RU" sz="16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Операции с Денежными средствами</a:t>
              </a:r>
            </a:p>
          </p:txBody>
        </p:sp>
        <p:sp>
          <p:nvSpPr>
            <p:cNvPr id="4" name="TextBox 3"/>
            <p:cNvSpPr txBox="1"/>
            <p:nvPr/>
          </p:nvSpPr>
          <p:spPr>
            <a:xfrm>
              <a:off x="3347864" y="1340768"/>
              <a:ext cx="5328592" cy="1384995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</p:spPr>
          <p:txBody>
            <a:bodyPr wrap="square" rtlCol="0">
              <a:spAutoFit/>
            </a:bodyPr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ru-RU" sz="1400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Регистрация счета для возврата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ru-RU" sz="1400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Запрос на возврат </a:t>
              </a:r>
              <a:r>
                <a:rPr lang="ru-RU" sz="14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денежных </a:t>
              </a:r>
              <a:r>
                <a:rPr lang="ru-RU" sz="1400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средств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ru-RU" sz="1400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Постоянный возврат </a:t>
              </a:r>
              <a:r>
                <a:rPr lang="ru-RU" sz="14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денежных средств</a:t>
              </a:r>
              <a:endParaRPr lang="ru-RU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ru-RU" sz="1400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Перевод денежных средств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ru-RU" sz="1400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Запрос на депонирование ДС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ru-RU" sz="1400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Постоянное поручение на депонирование ДС</a:t>
              </a:r>
            </a:p>
          </p:txBody>
        </p:sp>
        <p:sp>
          <p:nvSpPr>
            <p:cNvPr id="8" name="TextBox 7"/>
            <p:cNvSpPr txBox="1"/>
            <p:nvPr/>
          </p:nvSpPr>
          <p:spPr>
            <a:xfrm>
              <a:off x="571958" y="2841276"/>
              <a:ext cx="2304257" cy="584775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</p:spPr>
          <p:txBody>
            <a:bodyPr wrap="square" rtlCol="0">
              <a:spAutoFit/>
            </a:bodyPr>
            <a:lstStyle/>
            <a:p>
              <a:r>
                <a:rPr lang="ru-RU" sz="16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Операции с Расчетными кодами</a:t>
              </a:r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3347864" y="2841276"/>
              <a:ext cx="5328592" cy="954107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</p:spPr>
          <p:txBody>
            <a:bodyPr wrap="square" rtlCol="0">
              <a:spAutoFit/>
            </a:bodyPr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ru-RU" sz="1400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Регистрация Расчетного кода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ru-RU" sz="1400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Регистрация ТКС имущественного пула (для фондового рынка)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ru-RU" sz="1400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Запрос отчета о Расчетных кодах</a:t>
              </a:r>
              <a:r>
                <a:rPr lang="en-US" sz="1400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endParaRPr lang="ru-RU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571958" y="3933056"/>
              <a:ext cx="2304257" cy="338554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</p:spPr>
          <p:txBody>
            <a:bodyPr wrap="square" rtlCol="0">
              <a:spAutoFit/>
            </a:bodyPr>
            <a:lstStyle/>
            <a:p>
              <a:r>
                <a:rPr lang="ru-RU" sz="1600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Ранние расчеты (ВР)</a:t>
              </a:r>
              <a:endPara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3347864" y="3917176"/>
              <a:ext cx="5328592" cy="1384995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</p:spPr>
          <p:txBody>
            <a:bodyPr wrap="square" rtlCol="0">
              <a:spAutoFit/>
            </a:bodyPr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ru-RU" sz="1400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Запрос на проведение ранних расчетов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ru-RU" sz="1400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Постоянное поручение </a:t>
              </a:r>
              <a:r>
                <a:rPr lang="en-US" sz="1400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/ </a:t>
              </a:r>
              <a:r>
                <a:rPr lang="ru-RU" sz="1400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отмена постоянного поручения на проведение ранних расчетов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ru-RU" sz="1400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Запрос на ранний выход из торгов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ru-RU" sz="1400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Постоянное поручение </a:t>
              </a:r>
              <a:r>
                <a:rPr lang="en-US" sz="14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/ </a:t>
              </a:r>
              <a:r>
                <a:rPr lang="ru-RU" sz="14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отмена постоянного поручения </a:t>
              </a:r>
              <a:r>
                <a:rPr lang="ru-RU" sz="1400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на ранний выход из торгов</a:t>
              </a:r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3347864" y="5423964"/>
              <a:ext cx="5328592" cy="523220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</p:spPr>
          <p:txBody>
            <a:bodyPr wrap="square" rtlCol="0">
              <a:spAutoFit/>
            </a:bodyPr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ru-RU" sz="1400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Запрос на выбор тарифного плана по </a:t>
              </a:r>
              <a:r>
                <a:rPr lang="en-US" sz="1400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SPOT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ru-RU" sz="14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Запрос на выбор тарифного плана </a:t>
              </a:r>
              <a:r>
                <a:rPr lang="ru-RU" sz="1400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по</a:t>
              </a:r>
              <a:r>
                <a:rPr lang="en-US" sz="1400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SWAP</a:t>
              </a:r>
              <a:endParaRPr lang="ru-RU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cxnSp>
        <p:nvCxnSpPr>
          <p:cNvPr id="21" name="Соединительная линия уступом 20"/>
          <p:cNvCxnSpPr>
            <a:endCxn id="4" idx="1"/>
          </p:cNvCxnSpPr>
          <p:nvPr/>
        </p:nvCxnSpPr>
        <p:spPr>
          <a:xfrm>
            <a:off x="2872088" y="1617766"/>
            <a:ext cx="475776" cy="415500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Соединительная линия уступом 21"/>
          <p:cNvCxnSpPr/>
          <p:nvPr/>
        </p:nvCxnSpPr>
        <p:spPr>
          <a:xfrm>
            <a:off x="2872088" y="3141262"/>
            <a:ext cx="471648" cy="276999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Соединительная линия уступом 22"/>
          <p:cNvCxnSpPr>
            <a:endCxn id="16" idx="1"/>
          </p:cNvCxnSpPr>
          <p:nvPr/>
        </p:nvCxnSpPr>
        <p:spPr>
          <a:xfrm>
            <a:off x="2872088" y="4144113"/>
            <a:ext cx="475776" cy="465561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Соединительная линия уступом 25"/>
          <p:cNvCxnSpPr/>
          <p:nvPr/>
        </p:nvCxnSpPr>
        <p:spPr>
          <a:xfrm>
            <a:off x="2899876" y="5597479"/>
            <a:ext cx="443860" cy="148090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/>
        </p:nvCxnSpPr>
        <p:spPr>
          <a:xfrm>
            <a:off x="571958" y="882925"/>
            <a:ext cx="8280920" cy="0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857288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571959" y="144261"/>
            <a:ext cx="5428089" cy="7386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абота в системе </a:t>
            </a:r>
            <a:r>
              <a:rPr lang="en-US" sz="2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EB-</a:t>
            </a:r>
            <a:r>
              <a:rPr lang="ru-RU" sz="2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лиринг </a:t>
            </a:r>
          </a:p>
          <a:p>
            <a:r>
              <a:rPr lang="ru-RU" b="1" i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Главное меню</a:t>
            </a:r>
            <a:endParaRPr lang="ru-RU" b="1" i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571958" y="919463"/>
            <a:ext cx="508016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роме групп запросов главное меню включает: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571959" y="1340768"/>
            <a:ext cx="2304257" cy="58477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окументы на подпись</a:t>
            </a:r>
            <a:endParaRPr lang="ru-RU" sz="16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3347864" y="1340768"/>
            <a:ext cx="5328592" cy="52322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аблица со всеми сформированными, но не полностью подписанными документами </a:t>
            </a:r>
          </a:p>
        </p:txBody>
      </p:sp>
      <p:grpSp>
        <p:nvGrpSpPr>
          <p:cNvPr id="5" name="Группа 4"/>
          <p:cNvGrpSpPr/>
          <p:nvPr/>
        </p:nvGrpSpPr>
        <p:grpSpPr>
          <a:xfrm>
            <a:off x="566908" y="2352230"/>
            <a:ext cx="8104498" cy="523220"/>
            <a:chOff x="571958" y="2841276"/>
            <a:chExt cx="8104498" cy="523220"/>
          </a:xfrm>
        </p:grpSpPr>
        <p:sp>
          <p:nvSpPr>
            <p:cNvPr id="8" name="TextBox 7"/>
            <p:cNvSpPr txBox="1"/>
            <p:nvPr/>
          </p:nvSpPr>
          <p:spPr>
            <a:xfrm>
              <a:off x="571958" y="2841276"/>
              <a:ext cx="2304257" cy="338554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</p:spPr>
          <p:txBody>
            <a:bodyPr wrap="square" rtlCol="0">
              <a:spAutoFit/>
            </a:bodyPr>
            <a:lstStyle/>
            <a:p>
              <a:r>
                <a:rPr lang="ru-RU" sz="1600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Входящие документы</a:t>
              </a:r>
              <a:endPara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3347864" y="2841276"/>
              <a:ext cx="5328592" cy="523220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</p:spPr>
          <p:txBody>
            <a:bodyPr wrap="square" rtlCol="0">
              <a:spAutoFit/>
            </a:bodyPr>
            <a:lstStyle/>
            <a:p>
              <a:r>
                <a:rPr lang="ru-RU" sz="1400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Просмотр всех сообщений, направленных НКЦ Участнику клиринга, включая клиринговые отчеты</a:t>
              </a:r>
            </a:p>
          </p:txBody>
        </p:sp>
      </p:grpSp>
      <p:grpSp>
        <p:nvGrpSpPr>
          <p:cNvPr id="6" name="Группа 5"/>
          <p:cNvGrpSpPr/>
          <p:nvPr/>
        </p:nvGrpSpPr>
        <p:grpSpPr>
          <a:xfrm>
            <a:off x="566908" y="3363682"/>
            <a:ext cx="8104498" cy="600655"/>
            <a:chOff x="571958" y="3917176"/>
            <a:chExt cx="8104498" cy="600655"/>
          </a:xfrm>
        </p:grpSpPr>
        <p:sp>
          <p:nvSpPr>
            <p:cNvPr id="14" name="TextBox 13"/>
            <p:cNvSpPr txBox="1"/>
            <p:nvPr/>
          </p:nvSpPr>
          <p:spPr>
            <a:xfrm>
              <a:off x="571958" y="3933056"/>
              <a:ext cx="2304257" cy="584775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</p:spPr>
          <p:txBody>
            <a:bodyPr wrap="square" rtlCol="0">
              <a:spAutoFit/>
            </a:bodyPr>
            <a:lstStyle/>
            <a:p>
              <a:r>
                <a:rPr lang="ru-RU" sz="1600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Исходящие сообщения</a:t>
              </a:r>
              <a:endPara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3347864" y="3917176"/>
              <a:ext cx="5328592" cy="523220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</p:spPr>
          <p:txBody>
            <a:bodyPr wrap="square" rtlCol="0">
              <a:spAutoFit/>
            </a:bodyPr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ru-RU" sz="1400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Сформировать сообщение и направить в НКЦ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ru-RU" sz="1400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Просмотреть все сообщения, направленные в НКЦ</a:t>
              </a:r>
            </a:p>
          </p:txBody>
        </p:sp>
      </p:grpSp>
      <p:grpSp>
        <p:nvGrpSpPr>
          <p:cNvPr id="9" name="Группа 8"/>
          <p:cNvGrpSpPr/>
          <p:nvPr/>
        </p:nvGrpSpPr>
        <p:grpSpPr>
          <a:xfrm>
            <a:off x="566908" y="4590578"/>
            <a:ext cx="8076709" cy="1384995"/>
            <a:chOff x="599747" y="5423964"/>
            <a:chExt cx="8076709" cy="1384995"/>
          </a:xfrm>
        </p:grpSpPr>
        <p:sp>
          <p:nvSpPr>
            <p:cNvPr id="15" name="TextBox 14"/>
            <p:cNvSpPr txBox="1"/>
            <p:nvPr/>
          </p:nvSpPr>
          <p:spPr>
            <a:xfrm>
              <a:off x="599747" y="5423964"/>
              <a:ext cx="2304257" cy="338554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</p:spPr>
          <p:txBody>
            <a:bodyPr wrap="square" rtlCol="0">
              <a:spAutoFit/>
            </a:bodyPr>
            <a:lstStyle/>
            <a:p>
              <a:r>
                <a:rPr lang="ru-RU" sz="1600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Сервис</a:t>
              </a:r>
              <a:endPara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3347864" y="5423964"/>
              <a:ext cx="5328592" cy="1384995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</p:spPr>
          <p:txBody>
            <a:bodyPr wrap="square" rtlCol="0">
              <a:spAutoFit/>
            </a:bodyPr>
            <a:lstStyle/>
            <a:p>
              <a:r>
                <a:rPr lang="ru-RU" sz="1400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Справочная информация: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ru-RU" sz="1400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Курсы валют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ru-RU" sz="1400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Справочная информация по банкам (БИК, </a:t>
              </a:r>
              <a:r>
                <a:rPr lang="ru-RU" sz="1400" dirty="0" err="1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корр.счет</a:t>
              </a:r>
              <a:r>
                <a:rPr lang="ru-RU" sz="1400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и др.)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ru-RU" sz="1400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Общие и личные сообщения (объявления)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ru-RU" sz="1400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Настройка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ru-RU" sz="1400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Ключи и сертификаты</a:t>
              </a:r>
            </a:p>
          </p:txBody>
        </p:sp>
      </p:grpSp>
      <p:cxnSp>
        <p:nvCxnSpPr>
          <p:cNvPr id="17" name="Соединительная линия уступом 16"/>
          <p:cNvCxnSpPr/>
          <p:nvPr/>
        </p:nvCxnSpPr>
        <p:spPr>
          <a:xfrm>
            <a:off x="2890109" y="1559110"/>
            <a:ext cx="443860" cy="148090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Соединительная линия уступом 18"/>
          <p:cNvCxnSpPr/>
          <p:nvPr/>
        </p:nvCxnSpPr>
        <p:spPr>
          <a:xfrm>
            <a:off x="2884316" y="2521507"/>
            <a:ext cx="443860" cy="148090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Соединительная линия уступом 19"/>
          <p:cNvCxnSpPr/>
          <p:nvPr/>
        </p:nvCxnSpPr>
        <p:spPr>
          <a:xfrm>
            <a:off x="2871165" y="3512935"/>
            <a:ext cx="443860" cy="148090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Соединительная линия уступом 20"/>
          <p:cNvCxnSpPr/>
          <p:nvPr/>
        </p:nvCxnSpPr>
        <p:spPr>
          <a:xfrm>
            <a:off x="2857271" y="4759855"/>
            <a:ext cx="471649" cy="423562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Прямая соединительная линия 21"/>
          <p:cNvCxnSpPr/>
          <p:nvPr/>
        </p:nvCxnSpPr>
        <p:spPr>
          <a:xfrm>
            <a:off x="566908" y="882925"/>
            <a:ext cx="8280920" cy="0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544573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571959" y="144261"/>
            <a:ext cx="5428089" cy="7386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абота в системе </a:t>
            </a:r>
            <a:r>
              <a:rPr lang="en-US" sz="2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EB-</a:t>
            </a:r>
            <a:r>
              <a:rPr lang="ru-RU" sz="2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лиринг </a:t>
            </a:r>
          </a:p>
          <a:p>
            <a:r>
              <a:rPr lang="ru-RU" b="1" i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Цикл обработки запроса</a:t>
            </a:r>
            <a:endParaRPr lang="ru-RU" b="1" i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571958" y="1097908"/>
            <a:ext cx="6016265" cy="36933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Участник клиринга</a:t>
            </a:r>
          </a:p>
        </p:txBody>
      </p:sp>
      <p:pic>
        <p:nvPicPr>
          <p:cNvPr id="22" name="Рисунок 2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3774" y="1165831"/>
            <a:ext cx="361437" cy="227018"/>
          </a:xfrm>
          <a:prstGeom prst="rect">
            <a:avLst/>
          </a:prstGeom>
        </p:spPr>
      </p:pic>
      <p:sp>
        <p:nvSpPr>
          <p:cNvPr id="5" name="Скругленный прямоугольник 4"/>
          <p:cNvSpPr/>
          <p:nvPr/>
        </p:nvSpPr>
        <p:spPr>
          <a:xfrm>
            <a:off x="571959" y="1738194"/>
            <a:ext cx="1512168" cy="601000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Формирование запроса</a:t>
            </a:r>
            <a:endParaRPr lang="ru-RU" sz="14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2571980" y="1738194"/>
            <a:ext cx="1512168" cy="601000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зменение запроса</a:t>
            </a:r>
            <a:endParaRPr lang="ru-RU" sz="14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4572001" y="1738194"/>
            <a:ext cx="1512168" cy="601000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дпись</a:t>
            </a:r>
            <a:endParaRPr lang="ru-RU" sz="14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4572001" y="3020488"/>
            <a:ext cx="1512168" cy="601000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оверка статуса</a:t>
            </a:r>
            <a:endParaRPr lang="ru-RU" sz="14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>
            <a:off x="6660232" y="1094781"/>
            <a:ext cx="0" cy="4194519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sys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Скругленный прямоугольник 12"/>
          <p:cNvSpPr/>
          <p:nvPr/>
        </p:nvSpPr>
        <p:spPr>
          <a:xfrm>
            <a:off x="7236296" y="1738194"/>
            <a:ext cx="1512168" cy="60100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сполнение запроса</a:t>
            </a:r>
            <a:endParaRPr lang="ru-RU" sz="14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4" name="Скругленный прямоугольник 13"/>
          <p:cNvSpPr/>
          <p:nvPr/>
        </p:nvSpPr>
        <p:spPr>
          <a:xfrm>
            <a:off x="7236296" y="3020488"/>
            <a:ext cx="1512168" cy="60100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татус запроса</a:t>
            </a:r>
            <a:endParaRPr lang="ru-RU" sz="14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2524074" y="6031639"/>
            <a:ext cx="568863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rgbClr val="C00000"/>
              </a:buClr>
              <a:buFont typeface="Wingdings" panose="05000000000000000000" pitchFamily="2" charset="2"/>
              <a:buChar char="ü"/>
            </a:pPr>
            <a:r>
              <a:rPr lang="ru-RU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озможность просмотра истории отправленных документов</a:t>
            </a:r>
            <a:endParaRPr lang="ru-RU" sz="14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6" name="Стрелка вправо 16"/>
          <p:cNvSpPr/>
          <p:nvPr/>
        </p:nvSpPr>
        <p:spPr>
          <a:xfrm>
            <a:off x="2084127" y="1977661"/>
            <a:ext cx="487852" cy="122065"/>
          </a:xfrm>
          <a:prstGeom prst="rightArrow">
            <a:avLst/>
          </a:prstGeom>
          <a:solidFill>
            <a:schemeClr val="bg1">
              <a:lumMod val="65000"/>
            </a:schemeClr>
          </a:solidFill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Стрелка вправо 16"/>
          <p:cNvSpPr/>
          <p:nvPr/>
        </p:nvSpPr>
        <p:spPr>
          <a:xfrm>
            <a:off x="4084148" y="1977661"/>
            <a:ext cx="487852" cy="122065"/>
          </a:xfrm>
          <a:prstGeom prst="rightArrow">
            <a:avLst/>
          </a:prstGeom>
          <a:solidFill>
            <a:schemeClr val="bg1">
              <a:lumMod val="65000"/>
            </a:schemeClr>
          </a:solidFill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Стрелка вправо 16"/>
          <p:cNvSpPr/>
          <p:nvPr/>
        </p:nvSpPr>
        <p:spPr>
          <a:xfrm>
            <a:off x="6084169" y="1976224"/>
            <a:ext cx="1152127" cy="133245"/>
          </a:xfrm>
          <a:prstGeom prst="rightArrow">
            <a:avLst/>
          </a:prstGeom>
          <a:solidFill>
            <a:schemeClr val="bg1">
              <a:lumMod val="65000"/>
            </a:schemeClr>
          </a:solidFill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Стрелка влево 16"/>
          <p:cNvSpPr/>
          <p:nvPr/>
        </p:nvSpPr>
        <p:spPr>
          <a:xfrm>
            <a:off x="6075511" y="3248980"/>
            <a:ext cx="1152127" cy="113151"/>
          </a:xfrm>
          <a:prstGeom prst="leftArrow">
            <a:avLst/>
          </a:prstGeom>
          <a:solidFill>
            <a:schemeClr val="bg1">
              <a:lumMod val="65000"/>
            </a:schemeClr>
          </a:solidFill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Стрелка вниз 24"/>
          <p:cNvSpPr/>
          <p:nvPr/>
        </p:nvSpPr>
        <p:spPr>
          <a:xfrm>
            <a:off x="7956376" y="2339194"/>
            <a:ext cx="144016" cy="681294"/>
          </a:xfrm>
          <a:prstGeom prst="downArrow">
            <a:avLst/>
          </a:prstGeom>
          <a:solidFill>
            <a:schemeClr val="bg1">
              <a:lumMod val="65000"/>
            </a:schemeClr>
          </a:solidFill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31" name="Прямая соединительная линия 30"/>
          <p:cNvCxnSpPr/>
          <p:nvPr/>
        </p:nvCxnSpPr>
        <p:spPr>
          <a:xfrm flipH="1">
            <a:off x="762248" y="2339194"/>
            <a:ext cx="4949" cy="297930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Box 34"/>
          <p:cNvSpPr txBox="1"/>
          <p:nvPr/>
        </p:nvSpPr>
        <p:spPr>
          <a:xfrm>
            <a:off x="1015211" y="3819737"/>
            <a:ext cx="1900604" cy="30777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овый документ</a:t>
            </a:r>
            <a:endParaRPr lang="ru-RU" sz="14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1015212" y="4474202"/>
            <a:ext cx="1900603" cy="30777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з шаблона</a:t>
            </a:r>
            <a:endParaRPr lang="ru-RU" sz="14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1015213" y="5164613"/>
            <a:ext cx="1900602" cy="30777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мпорт документов</a:t>
            </a:r>
            <a:endParaRPr lang="ru-RU" sz="14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1" name="Стрелка углом вверх 40"/>
          <p:cNvSpPr/>
          <p:nvPr/>
        </p:nvSpPr>
        <p:spPr>
          <a:xfrm rot="10800000" flipV="1">
            <a:off x="1816411" y="2363468"/>
            <a:ext cx="2725436" cy="1024188"/>
          </a:xfrm>
          <a:prstGeom prst="bentUpArrow">
            <a:avLst>
              <a:gd name="adj1" fmla="val 6233"/>
              <a:gd name="adj2" fmla="val 6076"/>
              <a:gd name="adj3" fmla="val 7033"/>
            </a:avLst>
          </a:prstGeom>
          <a:solidFill>
            <a:schemeClr val="bg1">
              <a:lumMod val="65000"/>
            </a:schemeClr>
          </a:solidFill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43" name="Прямая со стрелкой 42"/>
          <p:cNvCxnSpPr/>
          <p:nvPr/>
        </p:nvCxnSpPr>
        <p:spPr>
          <a:xfrm>
            <a:off x="767196" y="3933055"/>
            <a:ext cx="248015" cy="462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Прямая со стрелкой 43"/>
          <p:cNvCxnSpPr/>
          <p:nvPr/>
        </p:nvCxnSpPr>
        <p:spPr>
          <a:xfrm>
            <a:off x="767196" y="4627284"/>
            <a:ext cx="248015" cy="462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Прямая со стрелкой 44"/>
          <p:cNvCxnSpPr/>
          <p:nvPr/>
        </p:nvCxnSpPr>
        <p:spPr>
          <a:xfrm>
            <a:off x="767339" y="5308753"/>
            <a:ext cx="248015" cy="462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Box 49"/>
          <p:cNvSpPr txBox="1"/>
          <p:nvPr/>
        </p:nvSpPr>
        <p:spPr>
          <a:xfrm>
            <a:off x="6732242" y="1094781"/>
            <a:ext cx="2016222" cy="3693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КЦ</a:t>
            </a:r>
            <a:endParaRPr lang="ru-RU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55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83848" y="1080550"/>
            <a:ext cx="408632" cy="3975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6" name="TextBox 55"/>
          <p:cNvSpPr txBox="1"/>
          <p:nvPr/>
        </p:nvSpPr>
        <p:spPr>
          <a:xfrm>
            <a:off x="3275856" y="3429000"/>
            <a:ext cx="122413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00" dirty="0" smtClean="0">
                <a:solidFill>
                  <a:srgbClr val="C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шибки</a:t>
            </a:r>
            <a:endParaRPr lang="ru-RU" sz="1100" dirty="0">
              <a:solidFill>
                <a:srgbClr val="C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7" name="Стрелка вниз 56"/>
          <p:cNvSpPr/>
          <p:nvPr/>
        </p:nvSpPr>
        <p:spPr>
          <a:xfrm>
            <a:off x="5292080" y="3621488"/>
            <a:ext cx="132394" cy="852714"/>
          </a:xfrm>
          <a:prstGeom prst="downArrow">
            <a:avLst/>
          </a:prstGeom>
          <a:solidFill>
            <a:schemeClr val="bg1">
              <a:lumMod val="65000"/>
            </a:schemeClr>
          </a:solidFill>
          <a:ln w="317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8" name="Овал 57"/>
          <p:cNvSpPr/>
          <p:nvPr/>
        </p:nvSpPr>
        <p:spPr>
          <a:xfrm>
            <a:off x="4854221" y="4523986"/>
            <a:ext cx="1008112" cy="593665"/>
          </a:xfrm>
          <a:prstGeom prst="ellipse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9" name="TextBox 58"/>
          <p:cNvSpPr txBox="1"/>
          <p:nvPr/>
        </p:nvSpPr>
        <p:spPr>
          <a:xfrm>
            <a:off x="4858271" y="4671700"/>
            <a:ext cx="10000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00" dirty="0" smtClean="0">
                <a:solidFill>
                  <a:srgbClr val="C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ыполнено</a:t>
            </a:r>
            <a:endParaRPr lang="ru-RU" sz="1100" dirty="0">
              <a:solidFill>
                <a:srgbClr val="C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32" name="Прямая соединительная линия 31"/>
          <p:cNvCxnSpPr/>
          <p:nvPr/>
        </p:nvCxnSpPr>
        <p:spPr>
          <a:xfrm>
            <a:off x="571958" y="882925"/>
            <a:ext cx="8280920" cy="0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074155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571959" y="144261"/>
            <a:ext cx="5428089" cy="7386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абота в системе </a:t>
            </a:r>
            <a:r>
              <a:rPr lang="en-US" sz="2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EB-</a:t>
            </a:r>
            <a:r>
              <a:rPr lang="ru-RU" sz="2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лиринг </a:t>
            </a:r>
          </a:p>
          <a:p>
            <a:r>
              <a:rPr lang="ru-RU" b="1" i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Цикл обработки </a:t>
            </a:r>
            <a:r>
              <a:rPr lang="ru-RU" b="1" i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запроса. Пример</a:t>
            </a:r>
            <a:endParaRPr lang="ru-RU" b="1" i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74" name="Рисунок 7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881" y="932157"/>
            <a:ext cx="7880535" cy="5387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88907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571959" y="144261"/>
            <a:ext cx="5428089" cy="7386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абота в системе </a:t>
            </a:r>
            <a:r>
              <a:rPr lang="en-US" sz="2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EB-</a:t>
            </a:r>
            <a:r>
              <a:rPr lang="ru-RU" sz="2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лиринг: </a:t>
            </a:r>
          </a:p>
          <a:p>
            <a:r>
              <a:rPr lang="ru-RU" b="1" i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оли доступа</a:t>
            </a:r>
            <a:endParaRPr lang="ru-RU" b="1" i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571958" y="919463"/>
            <a:ext cx="752843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иповые роли задаются при подключении к сервису </a:t>
            </a:r>
            <a:r>
              <a:rPr lang="en-US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EB-</a:t>
            </a:r>
            <a:r>
              <a:rPr lang="ru-RU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лиринг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755573" y="4077072"/>
            <a:ext cx="7442017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spcAft>
                <a:spcPts val="600"/>
              </a:spcAft>
              <a:buClr>
                <a:srgbClr val="C00000"/>
              </a:buClr>
              <a:buSzPct val="130000"/>
              <a:buFont typeface="Wingdings" panose="05000000000000000000" pitchFamily="2" charset="2"/>
              <a:buChar char="§"/>
            </a:pPr>
            <a:r>
              <a:rPr lang="ru-RU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оль «Руководитель» используется для создания, изменения, подписи и отправки запросов на исполнение.</a:t>
            </a:r>
          </a:p>
          <a:p>
            <a:pPr marL="285750" indent="-285750" algn="just">
              <a:spcAft>
                <a:spcPts val="600"/>
              </a:spcAft>
              <a:buClr>
                <a:srgbClr val="C00000"/>
              </a:buClr>
              <a:buSzPct val="130000"/>
              <a:buFont typeface="Wingdings" panose="05000000000000000000" pitchFamily="2" charset="2"/>
              <a:buChar char="§"/>
            </a:pPr>
            <a:r>
              <a:rPr lang="ru-RU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оль «Бухгалтер» используется в случае требования двух подписей под документами; </a:t>
            </a:r>
            <a:r>
              <a:rPr 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е</a:t>
            </a:r>
            <a:r>
              <a:rPr lang="ru-RU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ли указана такая роль, то для отправки документа на исполнение всегда потребуется две подписи.</a:t>
            </a:r>
          </a:p>
          <a:p>
            <a:pPr marL="285750" indent="-285750" algn="just">
              <a:spcAft>
                <a:spcPts val="600"/>
              </a:spcAft>
              <a:buClr>
                <a:srgbClr val="C00000"/>
              </a:buClr>
              <a:buSzPct val="130000"/>
              <a:buFont typeface="Wingdings" panose="05000000000000000000" pitchFamily="2" charset="2"/>
              <a:buChar char="§"/>
            </a:pPr>
            <a:r>
              <a:rPr lang="ru-RU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оль «</a:t>
            </a:r>
            <a:r>
              <a:rPr lang="ru-RU" sz="14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перационист</a:t>
            </a:r>
            <a:r>
              <a:rPr lang="ru-RU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» используется только для формирования документа, не обладает правом подписи.</a:t>
            </a:r>
            <a:endParaRPr lang="ru-RU" sz="14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78152214"/>
              </p:ext>
            </p:extLst>
          </p:nvPr>
        </p:nvGraphicFramePr>
        <p:xfrm>
          <a:off x="755574" y="1570683"/>
          <a:ext cx="7442016" cy="193032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68354"/>
                <a:gridCol w="1440160"/>
                <a:gridCol w="1512168"/>
                <a:gridCol w="1321334"/>
              </a:tblGrid>
              <a:tr h="482581">
                <a:tc>
                  <a:txBody>
                    <a:bodyPr/>
                    <a:lstStyle/>
                    <a:p>
                      <a:r>
                        <a:rPr lang="ru-RU" sz="1800" b="1" i="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Типовая</a:t>
                      </a:r>
                      <a:r>
                        <a:rPr lang="ru-RU" sz="1800" b="1" i="0" baseline="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роль</a:t>
                      </a:r>
                      <a:endParaRPr lang="ru-RU" sz="1800" b="1" i="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i="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Создание</a:t>
                      </a:r>
                      <a:endParaRPr lang="ru-RU" sz="1800" b="1" i="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i="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Изменение</a:t>
                      </a:r>
                      <a:endParaRPr lang="ru-RU" sz="1800" b="1" i="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i="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Подпись</a:t>
                      </a:r>
                      <a:endParaRPr lang="ru-RU" sz="1800" b="1" i="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anchor="ctr"/>
                </a:tc>
              </a:tr>
              <a:tr h="482581">
                <a:tc>
                  <a:txBody>
                    <a:bodyPr/>
                    <a:lstStyle/>
                    <a:p>
                      <a:r>
                        <a:rPr lang="ru-RU" sz="18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«Руководитель»</a:t>
                      </a:r>
                      <a:endParaRPr lang="ru-RU" sz="18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ru-RU" sz="18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ru-RU" sz="18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ru-RU" sz="18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anchor="ctr"/>
                </a:tc>
              </a:tr>
              <a:tr h="482581">
                <a:tc>
                  <a:txBody>
                    <a:bodyPr/>
                    <a:lstStyle/>
                    <a:p>
                      <a:r>
                        <a:rPr lang="ru-RU" sz="18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«Бухгалтер»</a:t>
                      </a:r>
                      <a:endParaRPr lang="ru-RU" sz="18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ru-RU" sz="18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ru-RU" sz="18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ru-RU" sz="18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anchor="ctr"/>
                </a:tc>
              </a:tr>
              <a:tr h="482581">
                <a:tc>
                  <a:txBody>
                    <a:bodyPr/>
                    <a:lstStyle/>
                    <a:p>
                      <a:r>
                        <a:rPr lang="ru-RU" sz="18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«</a:t>
                      </a:r>
                      <a:r>
                        <a:rPr lang="ru-RU" sz="1800" dirty="0" err="1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Операционист</a:t>
                      </a:r>
                      <a:r>
                        <a:rPr lang="ru-RU" sz="18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»</a:t>
                      </a:r>
                      <a:endParaRPr lang="ru-RU" sz="18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ru-RU" sz="18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ru-RU" sz="18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ru-RU" sz="18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  <p:sp>
        <p:nvSpPr>
          <p:cNvPr id="5" name="Прямоугольник 4"/>
          <p:cNvSpPr/>
          <p:nvPr/>
        </p:nvSpPr>
        <p:spPr>
          <a:xfrm>
            <a:off x="4469769" y="2061620"/>
            <a:ext cx="42672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2400" b="1" dirty="0">
                <a:solidFill>
                  <a:schemeClr val="accent3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Wingdings"/>
              </a:rPr>
              <a:t></a:t>
            </a:r>
            <a:endParaRPr lang="ru-RU" sz="24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5906959" y="2074180"/>
            <a:ext cx="42672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2400" b="1" dirty="0">
                <a:solidFill>
                  <a:schemeClr val="accent3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Wingdings"/>
              </a:rPr>
              <a:t></a:t>
            </a:r>
            <a:endParaRPr lang="ru-RU" sz="24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3" name="Прямоугольник 52"/>
          <p:cNvSpPr/>
          <p:nvPr/>
        </p:nvSpPr>
        <p:spPr>
          <a:xfrm>
            <a:off x="7345095" y="2061620"/>
            <a:ext cx="42672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2400" b="1" dirty="0">
                <a:solidFill>
                  <a:schemeClr val="accent3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Wingdings"/>
              </a:rPr>
              <a:t></a:t>
            </a:r>
            <a:endParaRPr lang="ru-RU" sz="24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4" name="Прямоугольник 53"/>
          <p:cNvSpPr/>
          <p:nvPr/>
        </p:nvSpPr>
        <p:spPr>
          <a:xfrm>
            <a:off x="7345095" y="2550480"/>
            <a:ext cx="42672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2400" b="1" dirty="0">
                <a:solidFill>
                  <a:schemeClr val="accent3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Wingdings"/>
              </a:rPr>
              <a:t></a:t>
            </a:r>
            <a:endParaRPr lang="ru-RU" sz="24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5" name="Прямоугольник 54"/>
          <p:cNvSpPr/>
          <p:nvPr/>
        </p:nvSpPr>
        <p:spPr>
          <a:xfrm>
            <a:off x="5906959" y="2555372"/>
            <a:ext cx="42672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2400" b="1" dirty="0">
                <a:solidFill>
                  <a:schemeClr val="accent3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Wingdings"/>
              </a:rPr>
              <a:t></a:t>
            </a:r>
            <a:endParaRPr lang="ru-RU" sz="24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6" name="Прямоугольник 55"/>
          <p:cNvSpPr/>
          <p:nvPr/>
        </p:nvSpPr>
        <p:spPr>
          <a:xfrm>
            <a:off x="4418416" y="2558126"/>
            <a:ext cx="42672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2400" b="1" dirty="0">
                <a:solidFill>
                  <a:schemeClr val="accent3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Wingdings"/>
              </a:rPr>
              <a:t></a:t>
            </a:r>
            <a:endParaRPr lang="ru-RU" sz="24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7" name="Прямоугольник 56"/>
          <p:cNvSpPr/>
          <p:nvPr/>
        </p:nvSpPr>
        <p:spPr>
          <a:xfrm>
            <a:off x="4418416" y="3056762"/>
            <a:ext cx="42672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2400" b="1" dirty="0">
                <a:solidFill>
                  <a:schemeClr val="accent3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Wingdings"/>
              </a:rPr>
              <a:t></a:t>
            </a:r>
            <a:endParaRPr lang="ru-RU" sz="24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8" name="Прямоугольник 57"/>
          <p:cNvSpPr/>
          <p:nvPr/>
        </p:nvSpPr>
        <p:spPr>
          <a:xfrm>
            <a:off x="5906959" y="3039342"/>
            <a:ext cx="42672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2400" b="1" dirty="0">
                <a:solidFill>
                  <a:schemeClr val="accent3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Wingdings"/>
              </a:rPr>
              <a:t></a:t>
            </a:r>
            <a:endParaRPr lang="ru-RU" sz="24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7368339" y="3024785"/>
            <a:ext cx="38023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>
                <a:solidFill>
                  <a:srgbClr val="C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Wingdings"/>
              </a:rPr>
              <a:t></a:t>
            </a:r>
            <a:endParaRPr lang="ru-RU" sz="24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15" name="Прямая соединительная линия 14"/>
          <p:cNvCxnSpPr/>
          <p:nvPr/>
        </p:nvCxnSpPr>
        <p:spPr>
          <a:xfrm>
            <a:off x="582683" y="919463"/>
            <a:ext cx="8280920" cy="0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854622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571959" y="144261"/>
            <a:ext cx="5663730" cy="7386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абота в системе </a:t>
            </a:r>
            <a:r>
              <a:rPr lang="en-US" sz="2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EB-</a:t>
            </a:r>
            <a:r>
              <a:rPr lang="ru-RU" sz="2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лиринг: </a:t>
            </a:r>
          </a:p>
          <a:p>
            <a:r>
              <a:rPr lang="ru-RU" b="1" i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оли доступа. Две подписи под документами</a:t>
            </a:r>
            <a:endParaRPr lang="ru-RU" b="1" i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571959" y="5342089"/>
            <a:ext cx="7312409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Clr>
                <a:srgbClr val="C00000"/>
              </a:buClr>
              <a:buSzPct val="130000"/>
              <a:buFont typeface="Wingdings" panose="05000000000000000000" pitchFamily="2" charset="2"/>
              <a:buChar char="§"/>
            </a:pPr>
            <a:r>
              <a:rPr lang="ru-RU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Запрос направляется на исполнение сразу после проставления необходимого количества подписей </a:t>
            </a:r>
          </a:p>
          <a:p>
            <a:pPr marL="285750" indent="-285750" algn="just">
              <a:buClr>
                <a:srgbClr val="C00000"/>
              </a:buClr>
              <a:buSzPct val="130000"/>
              <a:buFont typeface="Wingdings" panose="05000000000000000000" pitchFamily="2" charset="2"/>
              <a:buChar char="§"/>
            </a:pPr>
            <a:r>
              <a:rPr lang="ru-RU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еобходимость двух подписей задается при подключении к сервису </a:t>
            </a:r>
            <a:r>
              <a:rPr lang="en-US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EB-</a:t>
            </a:r>
            <a:r>
              <a:rPr lang="ru-RU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лиринг</a:t>
            </a:r>
          </a:p>
        </p:txBody>
      </p:sp>
      <p:grpSp>
        <p:nvGrpSpPr>
          <p:cNvPr id="3" name="Группа 2"/>
          <p:cNvGrpSpPr/>
          <p:nvPr/>
        </p:nvGrpSpPr>
        <p:grpSpPr>
          <a:xfrm>
            <a:off x="650032" y="1795361"/>
            <a:ext cx="8176505" cy="601000"/>
            <a:chOff x="571959" y="1738194"/>
            <a:chExt cx="8176505" cy="601000"/>
          </a:xfrm>
        </p:grpSpPr>
        <p:sp>
          <p:nvSpPr>
            <p:cNvPr id="24" name="Скругленный прямоугольник 23"/>
            <p:cNvSpPr/>
            <p:nvPr/>
          </p:nvSpPr>
          <p:spPr>
            <a:xfrm>
              <a:off x="571959" y="1738194"/>
              <a:ext cx="1512168" cy="601000"/>
            </a:xfrm>
            <a:prstGeom prst="round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400" dirty="0" smtClean="0">
                  <a:solidFill>
                    <a:schemeClr val="tx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Формирование запроса</a:t>
              </a:r>
              <a:endParaRPr lang="ru-RU" sz="1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26" name="Скругленный прямоугольник 25"/>
            <p:cNvSpPr/>
            <p:nvPr/>
          </p:nvSpPr>
          <p:spPr>
            <a:xfrm>
              <a:off x="2571980" y="1738194"/>
              <a:ext cx="1512168" cy="601000"/>
            </a:xfrm>
            <a:prstGeom prst="round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400" dirty="0" smtClean="0">
                  <a:solidFill>
                    <a:schemeClr val="tx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Изменение запроса</a:t>
              </a:r>
              <a:endParaRPr lang="ru-RU" sz="1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27" name="Скругленный прямоугольник 26"/>
            <p:cNvSpPr/>
            <p:nvPr/>
          </p:nvSpPr>
          <p:spPr>
            <a:xfrm>
              <a:off x="4572001" y="1738194"/>
              <a:ext cx="1512168" cy="601000"/>
            </a:xfrm>
            <a:prstGeom prst="round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400" dirty="0" smtClean="0">
                  <a:solidFill>
                    <a:schemeClr val="tx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Подпись</a:t>
              </a:r>
              <a:endParaRPr lang="ru-RU" sz="1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28" name="Скругленный прямоугольник 27"/>
            <p:cNvSpPr/>
            <p:nvPr/>
          </p:nvSpPr>
          <p:spPr>
            <a:xfrm>
              <a:off x="7236296" y="1738194"/>
              <a:ext cx="1512168" cy="601000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400" dirty="0" smtClean="0">
                  <a:solidFill>
                    <a:schemeClr val="tx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Исполнение запроса</a:t>
              </a:r>
              <a:endParaRPr lang="ru-RU" sz="1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29" name="Стрелка вправо 16"/>
            <p:cNvSpPr/>
            <p:nvPr/>
          </p:nvSpPr>
          <p:spPr>
            <a:xfrm>
              <a:off x="2084127" y="1977661"/>
              <a:ext cx="487852" cy="122065"/>
            </a:xfrm>
            <a:prstGeom prst="rightArrow">
              <a:avLst/>
            </a:prstGeom>
            <a:solidFill>
              <a:schemeClr val="bg1">
                <a:lumMod val="65000"/>
              </a:schemeClr>
            </a:solidFill>
            <a:ln w="317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0" name="Стрелка вправо 29"/>
            <p:cNvSpPr/>
            <p:nvPr/>
          </p:nvSpPr>
          <p:spPr>
            <a:xfrm>
              <a:off x="4084148" y="1977661"/>
              <a:ext cx="487852" cy="122065"/>
            </a:xfrm>
            <a:prstGeom prst="rightArrow">
              <a:avLst/>
            </a:prstGeom>
            <a:solidFill>
              <a:schemeClr val="bg1">
                <a:lumMod val="65000"/>
              </a:schemeClr>
            </a:solidFill>
            <a:ln w="317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1" name="Стрелка вправо 16"/>
            <p:cNvSpPr/>
            <p:nvPr/>
          </p:nvSpPr>
          <p:spPr>
            <a:xfrm>
              <a:off x="6084169" y="1976224"/>
              <a:ext cx="1152127" cy="133245"/>
            </a:xfrm>
            <a:prstGeom prst="rightArrow">
              <a:avLst/>
            </a:prstGeom>
            <a:solidFill>
              <a:schemeClr val="bg1">
                <a:lumMod val="65000"/>
              </a:schemeClr>
            </a:solidFill>
            <a:ln w="317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4" name="TextBox 3"/>
          <p:cNvSpPr txBox="1"/>
          <p:nvPr/>
        </p:nvSpPr>
        <p:spPr>
          <a:xfrm>
            <a:off x="1612209" y="1217260"/>
            <a:ext cx="309634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>
                <a:solidFill>
                  <a:srgbClr val="C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</a:t>
            </a:r>
            <a:r>
              <a:rPr lang="ru-RU" sz="1600" b="1" dirty="0" smtClean="0">
                <a:solidFill>
                  <a:srgbClr val="C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на подпись:</a:t>
            </a:r>
            <a:endParaRPr lang="ru-RU" sz="1600" b="1" dirty="0">
              <a:solidFill>
                <a:srgbClr val="C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1616985" y="2860786"/>
            <a:ext cx="309634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>
                <a:solidFill>
                  <a:srgbClr val="C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ве подписи:</a:t>
            </a:r>
            <a:endParaRPr lang="ru-RU" sz="1600" b="1" dirty="0">
              <a:solidFill>
                <a:srgbClr val="C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pSp>
        <p:nvGrpSpPr>
          <p:cNvPr id="8" name="Группа 7"/>
          <p:cNvGrpSpPr/>
          <p:nvPr/>
        </p:nvGrpSpPr>
        <p:grpSpPr>
          <a:xfrm>
            <a:off x="650032" y="3444531"/>
            <a:ext cx="8200086" cy="1533974"/>
            <a:chOff x="650032" y="3337031"/>
            <a:chExt cx="8200086" cy="1533974"/>
          </a:xfrm>
        </p:grpSpPr>
        <p:sp>
          <p:nvSpPr>
            <p:cNvPr id="54" name="Скругленный прямоугольник 53"/>
            <p:cNvSpPr/>
            <p:nvPr/>
          </p:nvSpPr>
          <p:spPr>
            <a:xfrm>
              <a:off x="650032" y="3337031"/>
              <a:ext cx="1512168" cy="601000"/>
            </a:xfrm>
            <a:prstGeom prst="round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400" dirty="0" smtClean="0">
                  <a:solidFill>
                    <a:schemeClr val="tx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Формирование запроса</a:t>
              </a:r>
              <a:endParaRPr lang="ru-RU" sz="1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55" name="Скругленный прямоугольник 54"/>
            <p:cNvSpPr/>
            <p:nvPr/>
          </p:nvSpPr>
          <p:spPr>
            <a:xfrm>
              <a:off x="2650053" y="3337031"/>
              <a:ext cx="1512168" cy="601000"/>
            </a:xfrm>
            <a:prstGeom prst="round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400" dirty="0" smtClean="0">
                  <a:solidFill>
                    <a:schemeClr val="tx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Изменение запроса</a:t>
              </a:r>
              <a:endParaRPr lang="ru-RU" sz="1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56" name="Скругленный прямоугольник 55"/>
            <p:cNvSpPr/>
            <p:nvPr/>
          </p:nvSpPr>
          <p:spPr>
            <a:xfrm>
              <a:off x="4650074" y="3337031"/>
              <a:ext cx="1512168" cy="601000"/>
            </a:xfrm>
            <a:prstGeom prst="round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400" dirty="0" smtClean="0">
                  <a:solidFill>
                    <a:schemeClr val="tx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1я подпись</a:t>
              </a:r>
              <a:endParaRPr lang="ru-RU" sz="1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57" name="Скругленный прямоугольник 56"/>
            <p:cNvSpPr/>
            <p:nvPr/>
          </p:nvSpPr>
          <p:spPr>
            <a:xfrm>
              <a:off x="7337950" y="4270005"/>
              <a:ext cx="1512168" cy="601000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400" dirty="0" smtClean="0">
                  <a:solidFill>
                    <a:schemeClr val="tx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Исполнение запроса</a:t>
              </a:r>
              <a:endParaRPr lang="ru-RU" sz="1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58" name="Стрелка вправо 16"/>
            <p:cNvSpPr/>
            <p:nvPr/>
          </p:nvSpPr>
          <p:spPr>
            <a:xfrm>
              <a:off x="2162200" y="3576498"/>
              <a:ext cx="487852" cy="122065"/>
            </a:xfrm>
            <a:prstGeom prst="rightArrow">
              <a:avLst/>
            </a:prstGeom>
            <a:solidFill>
              <a:schemeClr val="bg1">
                <a:lumMod val="65000"/>
              </a:schemeClr>
            </a:solidFill>
            <a:ln w="317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9" name="Стрелка вправо 58"/>
            <p:cNvSpPr/>
            <p:nvPr/>
          </p:nvSpPr>
          <p:spPr>
            <a:xfrm>
              <a:off x="4162221" y="3576498"/>
              <a:ext cx="487852" cy="122065"/>
            </a:xfrm>
            <a:prstGeom prst="rightArrow">
              <a:avLst/>
            </a:prstGeom>
            <a:solidFill>
              <a:schemeClr val="bg1">
                <a:lumMod val="65000"/>
              </a:schemeClr>
            </a:solidFill>
            <a:ln w="317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0" name="Стрелка вправо 16"/>
            <p:cNvSpPr/>
            <p:nvPr/>
          </p:nvSpPr>
          <p:spPr>
            <a:xfrm>
              <a:off x="6185822" y="4503163"/>
              <a:ext cx="1152127" cy="133245"/>
            </a:xfrm>
            <a:prstGeom prst="rightArrow">
              <a:avLst/>
            </a:prstGeom>
            <a:solidFill>
              <a:schemeClr val="bg1">
                <a:lumMod val="65000"/>
              </a:schemeClr>
            </a:solidFill>
            <a:ln w="317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9" name="Скругленный прямоугольник 68"/>
            <p:cNvSpPr/>
            <p:nvPr/>
          </p:nvSpPr>
          <p:spPr>
            <a:xfrm>
              <a:off x="4673655" y="4270005"/>
              <a:ext cx="1512168" cy="601000"/>
            </a:xfrm>
            <a:prstGeom prst="round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400" dirty="0" smtClean="0">
                  <a:solidFill>
                    <a:schemeClr val="tx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2я подпись</a:t>
              </a:r>
              <a:endParaRPr lang="ru-RU" sz="1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6" name="Стрелка вниз 5"/>
            <p:cNvSpPr/>
            <p:nvPr/>
          </p:nvSpPr>
          <p:spPr>
            <a:xfrm>
              <a:off x="5319181" y="3949095"/>
              <a:ext cx="116915" cy="320910"/>
            </a:xfrm>
            <a:prstGeom prst="downArrow">
              <a:avLst/>
            </a:prstGeom>
            <a:solidFill>
              <a:schemeClr val="bg1">
                <a:lumMod val="65000"/>
              </a:schemeClr>
            </a:solidFill>
            <a:ln w="317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71" name="Oval 15"/>
          <p:cNvSpPr/>
          <p:nvPr/>
        </p:nvSpPr>
        <p:spPr>
          <a:xfrm>
            <a:off x="827584" y="1122180"/>
            <a:ext cx="573506" cy="521758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b="1" dirty="0"/>
              <a:t>1</a:t>
            </a:r>
            <a:endParaRPr lang="en-US" sz="2000" b="1" dirty="0"/>
          </a:p>
        </p:txBody>
      </p:sp>
      <p:sp>
        <p:nvSpPr>
          <p:cNvPr id="72" name="Oval 15"/>
          <p:cNvSpPr/>
          <p:nvPr/>
        </p:nvSpPr>
        <p:spPr>
          <a:xfrm>
            <a:off x="856191" y="2765706"/>
            <a:ext cx="573506" cy="521758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b="1" dirty="0" smtClean="0"/>
              <a:t>2</a:t>
            </a:r>
            <a:endParaRPr lang="en-US" sz="2000" b="1" dirty="0"/>
          </a:p>
        </p:txBody>
      </p:sp>
      <p:cxnSp>
        <p:nvCxnSpPr>
          <p:cNvPr id="32" name="Прямая соединительная линия 31"/>
          <p:cNvCxnSpPr/>
          <p:nvPr/>
        </p:nvCxnSpPr>
        <p:spPr>
          <a:xfrm>
            <a:off x="568093" y="980728"/>
            <a:ext cx="8280920" cy="0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945603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1" name="Прямая соединительная линия 50"/>
          <p:cNvCxnSpPr>
            <a:endCxn id="52" idx="2"/>
          </p:cNvCxnSpPr>
          <p:nvPr/>
        </p:nvCxnSpPr>
        <p:spPr>
          <a:xfrm>
            <a:off x="5997013" y="1491081"/>
            <a:ext cx="293" cy="4521785"/>
          </a:xfrm>
          <a:prstGeom prst="line">
            <a:avLst/>
          </a:prstGeom>
          <a:ln w="19050">
            <a:solidFill>
              <a:srgbClr val="C0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Прямая соединительная линия 54"/>
          <p:cNvCxnSpPr/>
          <p:nvPr/>
        </p:nvCxnSpPr>
        <p:spPr>
          <a:xfrm>
            <a:off x="2878990" y="1501475"/>
            <a:ext cx="15954" cy="4511390"/>
          </a:xfrm>
          <a:prstGeom prst="line">
            <a:avLst/>
          </a:prstGeom>
          <a:ln w="19050"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Прямая соединительная линия 65"/>
          <p:cNvCxnSpPr/>
          <p:nvPr/>
        </p:nvCxnSpPr>
        <p:spPr>
          <a:xfrm flipH="1">
            <a:off x="6419899" y="1509239"/>
            <a:ext cx="4074" cy="4503626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Прямоугольник 6"/>
          <p:cNvSpPr/>
          <p:nvPr/>
        </p:nvSpPr>
        <p:spPr>
          <a:xfrm>
            <a:off x="571959" y="144261"/>
            <a:ext cx="825578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орожная карта проекта Клиринговый терминал </a:t>
            </a:r>
          </a:p>
        </p:txBody>
      </p:sp>
      <p:grpSp>
        <p:nvGrpSpPr>
          <p:cNvPr id="13" name="Группа 12"/>
          <p:cNvGrpSpPr/>
          <p:nvPr/>
        </p:nvGrpSpPr>
        <p:grpSpPr>
          <a:xfrm>
            <a:off x="571960" y="764704"/>
            <a:ext cx="8199970" cy="726378"/>
            <a:chOff x="571959" y="764704"/>
            <a:chExt cx="7872337" cy="726378"/>
          </a:xfrm>
        </p:grpSpPr>
        <p:sp>
          <p:nvSpPr>
            <p:cNvPr id="32" name="Пятиугольник 31"/>
            <p:cNvSpPr/>
            <p:nvPr>
              <p:custDataLst>
                <p:tags r:id="rId7"/>
              </p:custDataLst>
            </p:nvPr>
          </p:nvSpPr>
          <p:spPr>
            <a:xfrm>
              <a:off x="7220025" y="1203082"/>
              <a:ext cx="1224270" cy="288000"/>
            </a:xfrm>
            <a:prstGeom prst="homePlate">
              <a:avLst/>
            </a:prstGeom>
            <a:solidFill>
              <a:schemeClr val="bg1">
                <a:lumMod val="75000"/>
              </a:schemeClr>
            </a:solidFill>
            <a:ln w="34925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lnSpc>
                  <a:spcPct val="90000"/>
                </a:lnSpc>
              </a:pPr>
              <a:r>
                <a:rPr lang="en-US" sz="1100" b="1" dirty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 </a:t>
              </a:r>
              <a:r>
                <a:rPr lang="en-US" sz="1100" b="1" dirty="0" smtClean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II</a:t>
              </a:r>
              <a:endParaRPr lang="en-US" sz="11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33" name="Пятиугольник 32"/>
            <p:cNvSpPr/>
            <p:nvPr>
              <p:custDataLst>
                <p:tags r:id="rId8"/>
              </p:custDataLst>
            </p:nvPr>
          </p:nvSpPr>
          <p:spPr>
            <a:xfrm>
              <a:off x="6139905" y="1203082"/>
              <a:ext cx="1224270" cy="288000"/>
            </a:xfrm>
            <a:prstGeom prst="homePlate">
              <a:avLst/>
            </a:prstGeom>
            <a:solidFill>
              <a:schemeClr val="bg1">
                <a:lumMod val="75000"/>
              </a:schemeClr>
            </a:solidFill>
            <a:ln w="34925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lnSpc>
                  <a:spcPct val="90000"/>
                </a:lnSpc>
              </a:pPr>
              <a:r>
                <a:rPr lang="en-US" sz="1100" b="1" dirty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 I</a:t>
              </a:r>
            </a:p>
          </p:txBody>
        </p:sp>
        <p:sp>
          <p:nvSpPr>
            <p:cNvPr id="34" name="Пятиугольник 33"/>
            <p:cNvSpPr/>
            <p:nvPr>
              <p:custDataLst>
                <p:tags r:id="rId9"/>
              </p:custDataLst>
            </p:nvPr>
          </p:nvSpPr>
          <p:spPr>
            <a:xfrm>
              <a:off x="5020184" y="1203082"/>
              <a:ext cx="1224270" cy="288000"/>
            </a:xfrm>
            <a:prstGeom prst="homePlate">
              <a:avLst/>
            </a:prstGeom>
            <a:solidFill>
              <a:schemeClr val="bg1">
                <a:lumMod val="75000"/>
              </a:schemeClr>
            </a:solidFill>
            <a:ln w="34925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lnSpc>
                  <a:spcPct val="90000"/>
                </a:lnSpc>
              </a:pPr>
              <a:r>
                <a:rPr lang="en-US" sz="1100" b="1" dirty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 </a:t>
              </a:r>
              <a:r>
                <a:rPr lang="en-US" sz="1100" b="1" dirty="0" smtClean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IV</a:t>
              </a:r>
              <a:endParaRPr lang="en-US" sz="11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24" name="Пятиугольник 23"/>
            <p:cNvSpPr/>
            <p:nvPr>
              <p:custDataLst>
                <p:tags r:id="rId10"/>
              </p:custDataLst>
            </p:nvPr>
          </p:nvSpPr>
          <p:spPr>
            <a:xfrm>
              <a:off x="6139906" y="764704"/>
              <a:ext cx="2304390" cy="279600"/>
            </a:xfrm>
            <a:prstGeom prst="homePlate">
              <a:avLst/>
            </a:prstGeom>
            <a:solidFill>
              <a:srgbClr val="CE1126"/>
            </a:solidFill>
            <a:ln w="3175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lnSpc>
                  <a:spcPct val="90000"/>
                </a:lnSpc>
              </a:pPr>
              <a:r>
                <a:rPr lang="ru-RU" sz="1200" b="1" dirty="0">
                  <a:solidFill>
                    <a:schemeClr val="bg1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2017</a:t>
              </a:r>
              <a:endParaRPr lang="en-US" sz="1200" b="1" dirty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23" name="Пятиугольник 22"/>
            <p:cNvSpPr/>
            <p:nvPr>
              <p:custDataLst>
                <p:tags r:id="rId11"/>
              </p:custDataLst>
            </p:nvPr>
          </p:nvSpPr>
          <p:spPr>
            <a:xfrm>
              <a:off x="1691680" y="764704"/>
              <a:ext cx="4552774" cy="279600"/>
            </a:xfrm>
            <a:prstGeom prst="homePlate">
              <a:avLst/>
            </a:prstGeom>
            <a:solidFill>
              <a:srgbClr val="CE1126"/>
            </a:solidFill>
            <a:ln w="3175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lnSpc>
                  <a:spcPct val="90000"/>
                </a:lnSpc>
              </a:pPr>
              <a:r>
                <a:rPr lang="ru-RU" sz="1200" b="1" dirty="0">
                  <a:solidFill>
                    <a:schemeClr val="bg1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2016</a:t>
              </a:r>
              <a:endParaRPr lang="en-US" sz="1200" b="1" dirty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22" name="Пятиугольник 21"/>
            <p:cNvSpPr/>
            <p:nvPr>
              <p:custDataLst>
                <p:tags r:id="rId12"/>
              </p:custDataLst>
            </p:nvPr>
          </p:nvSpPr>
          <p:spPr>
            <a:xfrm>
              <a:off x="574299" y="764704"/>
              <a:ext cx="1221930" cy="288000"/>
            </a:xfrm>
            <a:prstGeom prst="homePlate">
              <a:avLst/>
            </a:prstGeom>
            <a:solidFill>
              <a:srgbClr val="CE1126"/>
            </a:solidFill>
            <a:ln w="3175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lnSpc>
                  <a:spcPct val="90000"/>
                </a:lnSpc>
              </a:pPr>
              <a:r>
                <a:rPr lang="ru-RU" sz="1200" b="1" dirty="0">
                  <a:solidFill>
                    <a:schemeClr val="bg1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2015</a:t>
              </a:r>
              <a:endParaRPr lang="en-US" sz="1200" b="1" dirty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endParaRPr>
            </a:p>
          </p:txBody>
        </p:sp>
        <p:grpSp>
          <p:nvGrpSpPr>
            <p:cNvPr id="11" name="Группа 10"/>
            <p:cNvGrpSpPr/>
            <p:nvPr/>
          </p:nvGrpSpPr>
          <p:grpSpPr>
            <a:xfrm>
              <a:off x="571959" y="1203082"/>
              <a:ext cx="4543832" cy="288000"/>
              <a:chOff x="571959" y="1203082"/>
              <a:chExt cx="4543832" cy="288000"/>
            </a:xfrm>
          </p:grpSpPr>
          <p:sp>
            <p:nvSpPr>
              <p:cNvPr id="28" name="Пятиугольник 27"/>
              <p:cNvSpPr/>
              <p:nvPr>
                <p:custDataLst>
                  <p:tags r:id="rId13"/>
                </p:custDataLst>
              </p:nvPr>
            </p:nvSpPr>
            <p:spPr>
              <a:xfrm>
                <a:off x="3891521" y="1203082"/>
                <a:ext cx="1224270" cy="288000"/>
              </a:xfrm>
              <a:prstGeom prst="homePlate">
                <a:avLst/>
              </a:prstGeom>
              <a:solidFill>
                <a:schemeClr val="bg1">
                  <a:lumMod val="75000"/>
                </a:schemeClr>
              </a:solidFill>
              <a:ln w="34925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lnSpc>
                    <a:spcPct val="90000"/>
                  </a:lnSpc>
                </a:pPr>
                <a:r>
                  <a:rPr lang="en-US" sz="1100" b="1" dirty="0">
                    <a:solidFill>
                      <a:schemeClr val="bg1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 </a:t>
                </a:r>
                <a:r>
                  <a:rPr lang="en-US" sz="1100" b="1" dirty="0" smtClean="0">
                    <a:solidFill>
                      <a:schemeClr val="bg1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III</a:t>
                </a:r>
                <a:endParaRPr lang="en-US" sz="1100" b="1" dirty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29" name="Пятиугольник 28"/>
              <p:cNvSpPr/>
              <p:nvPr>
                <p:custDataLst>
                  <p:tags r:id="rId14"/>
                </p:custDataLst>
              </p:nvPr>
            </p:nvSpPr>
            <p:spPr>
              <a:xfrm>
                <a:off x="2771800" y="1203082"/>
                <a:ext cx="1224270" cy="288000"/>
              </a:xfrm>
              <a:prstGeom prst="homePlate">
                <a:avLst/>
              </a:prstGeom>
              <a:solidFill>
                <a:schemeClr val="bg1">
                  <a:lumMod val="75000"/>
                </a:schemeClr>
              </a:solidFill>
              <a:ln w="34925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lnSpc>
                    <a:spcPct val="90000"/>
                  </a:lnSpc>
                </a:pPr>
                <a:r>
                  <a:rPr lang="en-US" sz="1100" b="1" dirty="0">
                    <a:solidFill>
                      <a:schemeClr val="bg1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 </a:t>
                </a:r>
                <a:r>
                  <a:rPr lang="en-US" sz="1100" b="1" dirty="0" smtClean="0">
                    <a:solidFill>
                      <a:schemeClr val="bg1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II</a:t>
                </a:r>
                <a:endParaRPr lang="en-US" sz="1100" b="1" dirty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26" name="Пятиугольник 25"/>
              <p:cNvSpPr/>
              <p:nvPr>
                <p:custDataLst>
                  <p:tags r:id="rId15"/>
                </p:custDataLst>
              </p:nvPr>
            </p:nvSpPr>
            <p:spPr>
              <a:xfrm>
                <a:off x="1691680" y="1203082"/>
                <a:ext cx="1224270" cy="288000"/>
              </a:xfrm>
              <a:prstGeom prst="homePlate">
                <a:avLst/>
              </a:prstGeom>
              <a:solidFill>
                <a:schemeClr val="bg1">
                  <a:lumMod val="75000"/>
                </a:schemeClr>
              </a:solidFill>
              <a:ln w="34925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lnSpc>
                    <a:spcPct val="90000"/>
                  </a:lnSpc>
                </a:pPr>
                <a:r>
                  <a:rPr lang="en-US" sz="1100" b="1" dirty="0">
                    <a:solidFill>
                      <a:schemeClr val="bg1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 I</a:t>
                </a:r>
              </a:p>
            </p:txBody>
          </p:sp>
          <p:sp>
            <p:nvSpPr>
              <p:cNvPr id="25" name="Пятиугольник 24"/>
              <p:cNvSpPr/>
              <p:nvPr>
                <p:custDataLst>
                  <p:tags r:id="rId16"/>
                </p:custDataLst>
              </p:nvPr>
            </p:nvSpPr>
            <p:spPr>
              <a:xfrm>
                <a:off x="571959" y="1203082"/>
                <a:ext cx="1224270" cy="288000"/>
              </a:xfrm>
              <a:prstGeom prst="homePlate">
                <a:avLst/>
              </a:prstGeom>
              <a:solidFill>
                <a:schemeClr val="bg1">
                  <a:lumMod val="75000"/>
                </a:schemeClr>
              </a:solidFill>
              <a:ln w="34925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lnSpc>
                    <a:spcPct val="90000"/>
                  </a:lnSpc>
                </a:pPr>
                <a:r>
                  <a:rPr lang="en-US" sz="1100" b="1" dirty="0">
                    <a:solidFill>
                      <a:schemeClr val="bg1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 </a:t>
                </a:r>
                <a:r>
                  <a:rPr lang="en-US" sz="1100" b="1" dirty="0" smtClean="0">
                    <a:solidFill>
                      <a:schemeClr val="bg1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IV</a:t>
                </a:r>
                <a:endParaRPr lang="en-US" sz="1100" b="1" dirty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</p:grpSp>
      </p:grpSp>
      <p:cxnSp>
        <p:nvCxnSpPr>
          <p:cNvPr id="35" name="Прямая соединительная линия 34"/>
          <p:cNvCxnSpPr/>
          <p:nvPr/>
        </p:nvCxnSpPr>
        <p:spPr>
          <a:xfrm>
            <a:off x="576789" y="1509239"/>
            <a:ext cx="31590" cy="4503626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Прямая соединительная линия 37"/>
          <p:cNvCxnSpPr/>
          <p:nvPr/>
        </p:nvCxnSpPr>
        <p:spPr>
          <a:xfrm>
            <a:off x="1738282" y="1491082"/>
            <a:ext cx="41661" cy="4521783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Пятиугольник 38"/>
          <p:cNvSpPr/>
          <p:nvPr>
            <p:custDataLst>
              <p:tags r:id="rId1"/>
            </p:custDataLst>
          </p:nvPr>
        </p:nvSpPr>
        <p:spPr>
          <a:xfrm>
            <a:off x="345535" y="1779081"/>
            <a:ext cx="1130121" cy="384895"/>
          </a:xfrm>
          <a:prstGeom prst="homePlat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lnSpc>
                <a:spcPct val="90000"/>
              </a:lnSpc>
            </a:pPr>
            <a:r>
              <a:rPr lang="ru-RU" sz="1000" b="1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азработка</a:t>
            </a:r>
          </a:p>
          <a:p>
            <a:pPr>
              <a:lnSpc>
                <a:spcPct val="90000"/>
              </a:lnSpc>
            </a:pPr>
            <a:r>
              <a:rPr lang="en-US" sz="10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EB-</a:t>
            </a:r>
            <a:r>
              <a:rPr lang="ru-RU" sz="10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лиринг</a:t>
            </a:r>
            <a:endParaRPr lang="ru-RU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4" name="Пятиугольник 43"/>
          <p:cNvSpPr/>
          <p:nvPr>
            <p:custDataLst>
              <p:tags r:id="rId2"/>
            </p:custDataLst>
          </p:nvPr>
        </p:nvSpPr>
        <p:spPr>
          <a:xfrm>
            <a:off x="7496707" y="3517518"/>
            <a:ext cx="1647293" cy="648696"/>
          </a:xfrm>
          <a:prstGeom prst="homePlat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lnSpc>
                <a:spcPct val="90000"/>
              </a:lnSpc>
            </a:pPr>
            <a:r>
              <a:rPr lang="ru-RU" sz="1000" b="1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естирование и </a:t>
            </a:r>
          </a:p>
          <a:p>
            <a:pPr>
              <a:lnSpc>
                <a:spcPct val="90000"/>
              </a:lnSpc>
            </a:pPr>
            <a:r>
              <a:rPr lang="ru-RU" sz="1000" b="1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эксплуатация </a:t>
            </a:r>
            <a:r>
              <a:rPr lang="en-US" sz="1000" b="1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EB-API </a:t>
            </a:r>
            <a:r>
              <a:rPr lang="ru-RU" sz="1000" b="1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лирингового терминала</a:t>
            </a:r>
            <a:endParaRPr lang="ru-RU" sz="1000" b="1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1497030" y="3337123"/>
            <a:ext cx="1356180" cy="55399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ru-RU" sz="1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лучение </a:t>
            </a:r>
            <a:r>
              <a:rPr lang="ru-RU" sz="10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замечаний, </a:t>
            </a:r>
            <a:r>
              <a:rPr lang="ru-RU" sz="1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оработка </a:t>
            </a:r>
            <a:r>
              <a:rPr lang="ru-RU" sz="10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ервиса</a:t>
            </a:r>
            <a:endParaRPr lang="ru-RU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53" name="Прямая соединительная линия 52"/>
          <p:cNvCxnSpPr/>
          <p:nvPr/>
        </p:nvCxnSpPr>
        <p:spPr>
          <a:xfrm>
            <a:off x="1466550" y="1491081"/>
            <a:ext cx="16455" cy="4521784"/>
          </a:xfrm>
          <a:prstGeom prst="line">
            <a:avLst/>
          </a:prstGeom>
          <a:ln w="19050"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Пятиугольник 40"/>
          <p:cNvSpPr/>
          <p:nvPr>
            <p:custDataLst>
              <p:tags r:id="rId3"/>
            </p:custDataLst>
          </p:nvPr>
        </p:nvSpPr>
        <p:spPr>
          <a:xfrm>
            <a:off x="2894944" y="3049215"/>
            <a:ext cx="5876985" cy="339949"/>
          </a:xfrm>
          <a:prstGeom prst="homePlat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ct val="90000"/>
              </a:lnSpc>
            </a:pPr>
            <a:r>
              <a:rPr lang="ru-RU" sz="1000" b="1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Эксплуатация сервиса </a:t>
            </a:r>
            <a:r>
              <a:rPr lang="en-US" sz="1000" b="1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EB-</a:t>
            </a:r>
            <a:r>
              <a:rPr lang="ru-RU" sz="1000" b="1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лиринг Участниками клиринга</a:t>
            </a:r>
            <a:endParaRPr lang="ru-RU" sz="1000" b="1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0" name="Пятиугольник 39"/>
          <p:cNvSpPr/>
          <p:nvPr>
            <p:custDataLst>
              <p:tags r:id="rId4"/>
            </p:custDataLst>
          </p:nvPr>
        </p:nvSpPr>
        <p:spPr>
          <a:xfrm>
            <a:off x="1473538" y="2301048"/>
            <a:ext cx="1706651" cy="611095"/>
          </a:xfrm>
          <a:prstGeom prst="homePlat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lnSpc>
                <a:spcPct val="90000"/>
              </a:lnSpc>
            </a:pPr>
            <a:r>
              <a:rPr lang="ru-RU" sz="1000" b="1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пытно-промышленная эксплуатация </a:t>
            </a:r>
          </a:p>
          <a:p>
            <a:pPr>
              <a:lnSpc>
                <a:spcPct val="90000"/>
              </a:lnSpc>
            </a:pPr>
            <a:r>
              <a:rPr lang="en-US" sz="1000" b="1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EB-</a:t>
            </a:r>
            <a:r>
              <a:rPr lang="ru-RU" sz="1000" b="1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лиринг</a:t>
            </a:r>
            <a:endParaRPr lang="ru-RU" sz="1000" b="1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59" name="Прямая со стрелкой 58"/>
          <p:cNvCxnSpPr>
            <a:stCxn id="40" idx="2"/>
            <a:endCxn id="46" idx="0"/>
          </p:cNvCxnSpPr>
          <p:nvPr/>
        </p:nvCxnSpPr>
        <p:spPr>
          <a:xfrm>
            <a:off x="2174090" y="2912143"/>
            <a:ext cx="1030" cy="42498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9" name="Группа 68"/>
          <p:cNvGrpSpPr/>
          <p:nvPr/>
        </p:nvGrpSpPr>
        <p:grpSpPr>
          <a:xfrm>
            <a:off x="345535" y="4275783"/>
            <a:ext cx="8768637" cy="1737083"/>
            <a:chOff x="345535" y="4554080"/>
            <a:chExt cx="8768637" cy="1737083"/>
          </a:xfrm>
        </p:grpSpPr>
        <p:sp>
          <p:nvSpPr>
            <p:cNvPr id="43" name="Пятиугольник 42"/>
            <p:cNvSpPr/>
            <p:nvPr>
              <p:custDataLst>
                <p:tags r:id="rId5"/>
              </p:custDataLst>
            </p:nvPr>
          </p:nvSpPr>
          <p:spPr>
            <a:xfrm>
              <a:off x="6010813" y="4985727"/>
              <a:ext cx="3103359" cy="384130"/>
            </a:xfrm>
            <a:prstGeom prst="homePlat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lnSpc>
                  <a:spcPct val="90000"/>
                </a:lnSpc>
              </a:pPr>
              <a:r>
                <a:rPr lang="ru-RU" sz="1000" b="1" dirty="0" smtClean="0">
                  <a:solidFill>
                    <a:schemeClr val="tx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Эксплуатация системы УКРМ УК НКЦ, </a:t>
              </a:r>
              <a:r>
                <a:rPr lang="ru-RU" sz="1000" b="1" dirty="0" smtClean="0">
                  <a:solidFill>
                    <a:srgbClr val="C0000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прекращение</a:t>
              </a:r>
              <a:r>
                <a:rPr lang="ru-RU" sz="1000" b="1" dirty="0" smtClean="0">
                  <a:solidFill>
                    <a:schemeClr val="tx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выпуска новых версий</a:t>
              </a:r>
            </a:p>
          </p:txBody>
        </p:sp>
        <p:sp>
          <p:nvSpPr>
            <p:cNvPr id="52" name="TextBox 51"/>
            <p:cNvSpPr txBox="1"/>
            <p:nvPr/>
          </p:nvSpPr>
          <p:spPr>
            <a:xfrm>
              <a:off x="5304898" y="6044942"/>
              <a:ext cx="1384815" cy="246221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rgbClr val="C00000"/>
              </a:solidFill>
            </a:ln>
          </p:spPr>
          <p:txBody>
            <a:bodyPr wrap="square" rtlCol="0">
              <a:spAutoFit/>
            </a:bodyPr>
            <a:lstStyle/>
            <a:p>
              <a:r>
                <a:rPr lang="ru-RU" sz="1000" b="1" dirty="0" smtClean="0">
                  <a:solidFill>
                    <a:srgbClr val="C0000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1 декабря 2016 г.</a:t>
              </a:r>
              <a:endParaRPr lang="ru-RU" sz="1000" b="1" dirty="0">
                <a:solidFill>
                  <a:srgbClr val="C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54" name="TextBox 53"/>
            <p:cNvSpPr txBox="1"/>
            <p:nvPr/>
          </p:nvSpPr>
          <p:spPr>
            <a:xfrm>
              <a:off x="924337" y="6044941"/>
              <a:ext cx="1384815" cy="246221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solidFill>
                <a:schemeClr val="accent1"/>
              </a:solidFill>
            </a:ln>
          </p:spPr>
          <p:txBody>
            <a:bodyPr wrap="square" rtlCol="0">
              <a:spAutoFit/>
            </a:bodyPr>
            <a:lstStyle/>
            <a:p>
              <a:r>
                <a:rPr lang="ru-RU" sz="1000" b="1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1 декабря 2015 г.</a:t>
              </a:r>
              <a:endParaRPr lang="ru-RU" sz="10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42" name="Пятиугольник 41"/>
            <p:cNvSpPr/>
            <p:nvPr>
              <p:custDataLst>
                <p:tags r:id="rId6"/>
              </p:custDataLst>
            </p:nvPr>
          </p:nvSpPr>
          <p:spPr>
            <a:xfrm>
              <a:off x="345535" y="4554080"/>
              <a:ext cx="5669308" cy="375701"/>
            </a:xfrm>
            <a:prstGeom prst="homePlat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lnSpc>
                  <a:spcPct val="90000"/>
                </a:lnSpc>
              </a:pPr>
              <a:r>
                <a:rPr lang="ru-RU" sz="1000" b="1" dirty="0" smtClean="0">
                  <a:solidFill>
                    <a:schemeClr val="tx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Эксплуатация системы УКРМ УК НКЦ, </a:t>
              </a:r>
            </a:p>
            <a:p>
              <a:pPr algn="ctr">
                <a:lnSpc>
                  <a:spcPct val="90000"/>
                </a:lnSpc>
              </a:pPr>
              <a:r>
                <a:rPr lang="ru-RU" sz="1000" b="1" dirty="0" smtClean="0">
                  <a:solidFill>
                    <a:schemeClr val="tx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включая поддержку и выпуск новых версий</a:t>
              </a:r>
              <a:endParaRPr lang="ru-RU" sz="1000" b="1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61" name="TextBox 60"/>
            <p:cNvSpPr txBox="1"/>
            <p:nvPr/>
          </p:nvSpPr>
          <p:spPr>
            <a:xfrm>
              <a:off x="6845308" y="5454409"/>
              <a:ext cx="2039689" cy="553998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solidFill>
                <a:schemeClr val="accent1"/>
              </a:solidFill>
            </a:ln>
          </p:spPr>
          <p:txBody>
            <a:bodyPr wrap="square" rtlCol="0">
              <a:spAutoFit/>
            </a:bodyPr>
            <a:lstStyle/>
            <a:p>
              <a:r>
                <a:rPr lang="ru-RU" sz="1000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Можно использовать УКРМ до </a:t>
              </a:r>
              <a:r>
                <a:rPr lang="ru-RU" sz="1000" b="1" dirty="0" smtClean="0">
                  <a:solidFill>
                    <a:srgbClr val="C0000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1 декабря 2018 г</a:t>
              </a:r>
              <a:r>
                <a:rPr lang="ru-RU" sz="1000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., но в нем не будет нового функционала</a:t>
              </a:r>
              <a:endParaRPr lang="ru-RU" sz="1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sp>
        <p:nvSpPr>
          <p:cNvPr id="72" name="TextBox 71"/>
          <p:cNvSpPr txBox="1"/>
          <p:nvPr/>
        </p:nvSpPr>
        <p:spPr>
          <a:xfrm>
            <a:off x="1733451" y="6271326"/>
            <a:ext cx="730304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ддержка сообщений формата </a:t>
            </a:r>
            <a:r>
              <a:rPr lang="en-US" sz="11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xt </a:t>
            </a:r>
            <a:r>
              <a:rPr lang="ru-RU" sz="11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удет осуществляться до 1.12.2018 года</a:t>
            </a:r>
            <a:endParaRPr lang="ru-RU" sz="11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108168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Прямая соединительная линия 4"/>
          <p:cNvCxnSpPr/>
          <p:nvPr/>
        </p:nvCxnSpPr>
        <p:spPr>
          <a:xfrm>
            <a:off x="571959" y="692696"/>
            <a:ext cx="8280920" cy="0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Прямоугольник 5"/>
          <p:cNvSpPr/>
          <p:nvPr/>
        </p:nvSpPr>
        <p:spPr>
          <a:xfrm>
            <a:off x="571959" y="144261"/>
            <a:ext cx="403507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лиринговый терминал</a:t>
            </a:r>
            <a:endParaRPr lang="ru-RU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>
            <a:off x="481550" y="5949280"/>
            <a:ext cx="8280920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Прямоугольник 11"/>
          <p:cNvSpPr/>
          <p:nvPr/>
        </p:nvSpPr>
        <p:spPr>
          <a:xfrm>
            <a:off x="540745" y="1052736"/>
            <a:ext cx="7937411" cy="4216539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marL="285750" lvl="0" indent="-285750" algn="just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ru-RU" sz="1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Удобный современный графический </a:t>
            </a:r>
            <a:r>
              <a:rPr lang="en-US" sz="1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eb-</a:t>
            </a:r>
            <a:r>
              <a:rPr lang="ru-RU" sz="1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нтерфейс, интуитивно понятный</a:t>
            </a:r>
          </a:p>
          <a:p>
            <a:pPr marL="285750" lvl="0" indent="-285750" algn="just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ru-RU" sz="1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личие программного интерфейса (</a:t>
            </a:r>
            <a:r>
              <a:rPr lang="en-US" sz="1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EB API)</a:t>
            </a:r>
            <a:endParaRPr lang="ru-RU" sz="1400" b="1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lvl="0" indent="-285750" algn="just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ru-RU" sz="1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риентация на работу с клиринговыми объектами (не с операциями)</a:t>
            </a:r>
          </a:p>
          <a:p>
            <a:pPr marL="285750" lvl="0" indent="-285750" algn="just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ru-RU" sz="1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Единая система для всех рынков Московской Биржи</a:t>
            </a:r>
          </a:p>
          <a:p>
            <a:pPr marL="285750" lvl="0" indent="-285750" algn="just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ru-RU" sz="1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еализация автоматической обработки большинства запросов, направляемых в НКЦ Участником </a:t>
            </a:r>
            <a:r>
              <a:rPr lang="ru-RU" sz="1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лиринга</a:t>
            </a:r>
          </a:p>
          <a:p>
            <a:pPr marL="285750" lvl="0" indent="-285750" algn="just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ru-RU" sz="1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вухфакторная аутентификация: сертификат ключа ЭДО + </a:t>
            </a:r>
            <a:r>
              <a:rPr lang="en-US" sz="1400" b="1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oex</a:t>
            </a:r>
            <a:r>
              <a:rPr lang="en-US" sz="1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passport</a:t>
            </a:r>
            <a:r>
              <a:rPr lang="ru-RU" sz="1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</a:p>
          <a:p>
            <a:pPr marL="285750" lvl="0" indent="-285750" algn="just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ru-RU" sz="1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еализация возможности двух подписей документов</a:t>
            </a:r>
          </a:p>
          <a:p>
            <a:pPr marL="285750" lvl="0" indent="-285750" algn="just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ru-RU" sz="1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ообщения в формате </a:t>
            </a:r>
            <a:r>
              <a:rPr lang="en-US" sz="1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xml</a:t>
            </a:r>
            <a:endParaRPr lang="ru-RU" sz="1400" b="1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lvl="0" indent="-285750" algn="just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ru-RU" sz="1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ысокая скорость отклика системы</a:t>
            </a:r>
          </a:p>
          <a:p>
            <a:pPr marL="285750" lvl="0" indent="-285750" algn="just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ru-RU" sz="1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озможность пакетной обработки запросов</a:t>
            </a:r>
          </a:p>
          <a:p>
            <a:pPr marL="285750" lvl="0" indent="-285750" algn="just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ru-RU" sz="1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озможность </a:t>
            </a:r>
            <a:r>
              <a:rPr lang="ru-RU" sz="1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дготовки шаблонов документов для стандартных </a:t>
            </a:r>
            <a:r>
              <a:rPr lang="ru-RU" sz="1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запросов</a:t>
            </a:r>
          </a:p>
        </p:txBody>
      </p:sp>
    </p:spTree>
    <p:extLst>
      <p:ext uri="{BB962C8B-B14F-4D97-AF65-F5344CB8AC3E}">
        <p14:creationId xmlns:p14="http://schemas.microsoft.com/office/powerpoint/2010/main" val="13325084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3083" y="1124744"/>
            <a:ext cx="8755504" cy="509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Прямоугольник 6"/>
          <p:cNvSpPr/>
          <p:nvPr/>
        </p:nvSpPr>
        <p:spPr>
          <a:xfrm>
            <a:off x="571959" y="144261"/>
            <a:ext cx="727635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имер страницы Клирингового терминала</a:t>
            </a:r>
            <a:endParaRPr lang="ru-RU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722483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627301" y="1175274"/>
            <a:ext cx="1327032" cy="52322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lvl="0" algn="ctr"/>
            <a:r>
              <a:rPr lang="ru-RU" sz="1400" b="1" dirty="0" smtClean="0">
                <a:solidFill>
                  <a:srgbClr val="C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Участник клиринга</a:t>
            </a:r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>
            <a:off x="571959" y="692696"/>
            <a:ext cx="8280920" cy="0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Прямоугольник 5"/>
          <p:cNvSpPr/>
          <p:nvPr/>
        </p:nvSpPr>
        <p:spPr>
          <a:xfrm>
            <a:off x="448321" y="144261"/>
            <a:ext cx="836586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окументооборот между НКЦ и Участником клиринга</a:t>
            </a:r>
            <a:endParaRPr lang="ru-RU" sz="20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>
            <a:off x="504067" y="3501008"/>
            <a:ext cx="8280920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Стрелка вправо 1"/>
          <p:cNvSpPr/>
          <p:nvPr/>
        </p:nvSpPr>
        <p:spPr>
          <a:xfrm>
            <a:off x="2123728" y="1522751"/>
            <a:ext cx="5087058" cy="238882"/>
          </a:xfrm>
          <a:prstGeom prst="rightArrow">
            <a:avLst/>
          </a:prstGeom>
          <a:gradFill flip="none" rotWithShape="1">
            <a:gsLst>
              <a:gs pos="0">
                <a:srgbClr val="000000">
                  <a:tint val="66000"/>
                  <a:satMod val="160000"/>
                </a:srgbClr>
              </a:gs>
              <a:gs pos="50000">
                <a:srgbClr val="000000">
                  <a:tint val="44500"/>
                  <a:satMod val="160000"/>
                </a:srgbClr>
              </a:gs>
              <a:gs pos="100000">
                <a:srgbClr val="000000">
                  <a:tint val="23500"/>
                  <a:satMod val="160000"/>
                </a:srgbClr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3" name="Стрелка влево 2"/>
          <p:cNvSpPr/>
          <p:nvPr/>
        </p:nvSpPr>
        <p:spPr>
          <a:xfrm>
            <a:off x="2123728" y="2143470"/>
            <a:ext cx="5041600" cy="216024"/>
          </a:xfrm>
          <a:prstGeom prst="leftArrow">
            <a:avLst/>
          </a:prstGeom>
          <a:gradFill flip="none" rotWithShape="1">
            <a:gsLst>
              <a:gs pos="0">
                <a:schemeClr val="tx1">
                  <a:tint val="66000"/>
                  <a:satMod val="160000"/>
                </a:schemeClr>
              </a:gs>
              <a:gs pos="50000">
                <a:schemeClr val="tx1">
                  <a:tint val="44500"/>
                  <a:satMod val="160000"/>
                </a:schemeClr>
              </a:gs>
              <a:gs pos="100000">
                <a:schemeClr val="tx1">
                  <a:tint val="23500"/>
                  <a:satMod val="16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2335084" y="980728"/>
            <a:ext cx="4329818" cy="492443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lvl="0" algn="ctr"/>
            <a:r>
              <a:rPr lang="ru-RU" sz="1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Заявления, запросы</a:t>
            </a:r>
          </a:p>
          <a:p>
            <a:pPr lvl="0" algn="ctr"/>
            <a:r>
              <a:rPr lang="ru-RU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умажные документы или электронные документы </a:t>
            </a:r>
            <a:endParaRPr lang="ru-RU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2542754" y="2464626"/>
            <a:ext cx="4329818" cy="492443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lvl="0" algn="ctr"/>
            <a:r>
              <a:rPr lang="ru-RU" sz="1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лиринговые отчеты</a:t>
            </a:r>
          </a:p>
          <a:p>
            <a:pPr lvl="0" algn="ctr"/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умажные документы или электронные документы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461596" y="3592288"/>
            <a:ext cx="8365863" cy="2431435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lvl="0" algn="just"/>
            <a:r>
              <a:rPr lang="ru-RU" sz="1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Участник клиринга направляет в НКЦ Заявления в форме бумажных или электронных документов</a:t>
            </a:r>
          </a:p>
          <a:p>
            <a:pPr lvl="0" algn="just"/>
            <a:r>
              <a:rPr lang="ru-RU" sz="1400" b="1" dirty="0" smtClean="0">
                <a:solidFill>
                  <a:srgbClr val="C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ипы заявлений, формы бумажных заявлений и форматы электронных заявлений </a:t>
            </a:r>
            <a:r>
              <a:rPr lang="ru-RU" sz="1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писаны в документах «Формы и форматы документов, предоставляемых Участниками клиринга» на каждом биржевом рынке</a:t>
            </a:r>
          </a:p>
          <a:p>
            <a:pPr lvl="0" algn="just"/>
            <a:endParaRPr lang="ru-RU" sz="14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lvl="0" algn="just"/>
            <a:r>
              <a:rPr lang="ru-RU" sz="1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КЦ направляет Участнику клиринга отчеты по итогам клиринга в форме электронных документов (по запросу – бумажных)</a:t>
            </a:r>
          </a:p>
          <a:p>
            <a:pPr lvl="0" algn="just"/>
            <a:r>
              <a:rPr lang="ru-RU" sz="1400" b="1" dirty="0" smtClean="0">
                <a:solidFill>
                  <a:srgbClr val="C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Форматы отчетов</a:t>
            </a:r>
            <a:r>
              <a:rPr lang="ru-RU" sz="1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 определяются документами «Формы и форматы отчетов, направляемых Участникам клиринга» на </a:t>
            </a:r>
            <a:r>
              <a:rPr lang="ru-RU" sz="1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аждом биржевом </a:t>
            </a:r>
            <a:r>
              <a:rPr lang="ru-RU" sz="1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ынке</a:t>
            </a:r>
          </a:p>
          <a:p>
            <a:pPr algn="just"/>
            <a:endParaRPr lang="ru-RU" sz="1200" b="1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504067" y="4818277"/>
            <a:ext cx="8280920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05713" y="1673013"/>
            <a:ext cx="1175151" cy="11433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3" descr="C:\Users\LoshkarevaKV\Desktop\MSCW_XCHNG_CLEARING_RGB_ENG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05713" y="1212235"/>
            <a:ext cx="1504503" cy="3924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9268" y="1670814"/>
            <a:ext cx="1175151" cy="11433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495323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Прямая соединительная линия 4"/>
          <p:cNvCxnSpPr/>
          <p:nvPr/>
        </p:nvCxnSpPr>
        <p:spPr>
          <a:xfrm>
            <a:off x="571959" y="692696"/>
            <a:ext cx="8280920" cy="0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Прямоугольник 5"/>
          <p:cNvSpPr/>
          <p:nvPr/>
        </p:nvSpPr>
        <p:spPr>
          <a:xfrm>
            <a:off x="571959" y="144261"/>
            <a:ext cx="748955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УКРМ, </a:t>
            </a:r>
            <a:r>
              <a:rPr lang="en-US" sz="2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EB-</a:t>
            </a:r>
            <a:r>
              <a:rPr lang="ru-RU" sz="2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лиринг, Клиринговый терминал</a:t>
            </a:r>
            <a:endParaRPr lang="ru-RU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567290" y="980728"/>
            <a:ext cx="7937411" cy="307777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lvl="0" algn="just">
              <a:spcBef>
                <a:spcPts val="600"/>
              </a:spcBef>
              <a:spcAft>
                <a:spcPts val="600"/>
              </a:spcAft>
            </a:pPr>
            <a:r>
              <a:rPr lang="ru-RU" sz="1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азвитие сервиса информационного обмена между НКЦ и Участником клиринга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707412" y="1700808"/>
            <a:ext cx="1728193" cy="792088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rgbClr val="C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УКРМ </a:t>
            </a:r>
          </a:p>
          <a:p>
            <a:pPr algn="ctr"/>
            <a:r>
              <a:rPr lang="ru-RU" b="1" dirty="0" smtClean="0">
                <a:solidFill>
                  <a:srgbClr val="C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УК КНЦ</a:t>
            </a:r>
            <a:endParaRPr lang="ru-RU" b="1" dirty="0">
              <a:solidFill>
                <a:srgbClr val="C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3735844" y="1700808"/>
            <a:ext cx="1728194" cy="792088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rgbClr val="C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EB-</a:t>
            </a:r>
            <a:r>
              <a:rPr lang="ru-RU" b="1" dirty="0" smtClean="0">
                <a:solidFill>
                  <a:srgbClr val="C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лиринг</a:t>
            </a:r>
            <a:endParaRPr lang="ru-RU" b="1" dirty="0">
              <a:solidFill>
                <a:srgbClr val="C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6660232" y="1700808"/>
            <a:ext cx="1844469" cy="792088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rgbClr val="C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лиринговый терминал</a:t>
            </a:r>
            <a:endParaRPr lang="ru-RU" b="1" dirty="0">
              <a:solidFill>
                <a:srgbClr val="C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" name="Стрелка вправо 3"/>
          <p:cNvSpPr/>
          <p:nvPr/>
        </p:nvSpPr>
        <p:spPr>
          <a:xfrm>
            <a:off x="2437343" y="2012410"/>
            <a:ext cx="1324085" cy="168884"/>
          </a:xfrm>
          <a:prstGeom prst="rightArrow">
            <a:avLst/>
          </a:prstGeom>
          <a:gradFill flip="none" rotWithShape="1">
            <a:gsLst>
              <a:gs pos="0">
                <a:srgbClr val="C00000">
                  <a:shade val="30000"/>
                  <a:satMod val="115000"/>
                </a:srgbClr>
              </a:gs>
              <a:gs pos="50000">
                <a:srgbClr val="C00000">
                  <a:shade val="67500"/>
                  <a:satMod val="115000"/>
                </a:srgbClr>
              </a:gs>
              <a:gs pos="100000">
                <a:srgbClr val="C00000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Стрелка вправо 14"/>
          <p:cNvSpPr/>
          <p:nvPr/>
        </p:nvSpPr>
        <p:spPr>
          <a:xfrm>
            <a:off x="5480956" y="2015767"/>
            <a:ext cx="1179276" cy="165527"/>
          </a:xfrm>
          <a:prstGeom prst="rightArrow">
            <a:avLst/>
          </a:prstGeom>
          <a:gradFill flip="none" rotWithShape="1">
            <a:gsLst>
              <a:gs pos="0">
                <a:srgbClr val="C00000">
                  <a:shade val="30000"/>
                  <a:satMod val="115000"/>
                </a:srgbClr>
              </a:gs>
              <a:gs pos="50000">
                <a:srgbClr val="C00000">
                  <a:shade val="67500"/>
                  <a:satMod val="115000"/>
                </a:srgbClr>
              </a:gs>
              <a:gs pos="100000">
                <a:srgbClr val="C00000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11" name="Таблица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21715454"/>
              </p:ext>
            </p:extLst>
          </p:nvPr>
        </p:nvGraphicFramePr>
        <p:xfrm>
          <a:off x="702657" y="2910056"/>
          <a:ext cx="7774279" cy="3322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44523"/>
                <a:gridCol w="1055050"/>
                <a:gridCol w="1205771"/>
                <a:gridCol w="1468935"/>
              </a:tblGrid>
              <a:tr h="384043">
                <a:tc>
                  <a:txBody>
                    <a:bodyPr/>
                    <a:lstStyle/>
                    <a:p>
                      <a:r>
                        <a:rPr lang="ru-RU" sz="16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Возможности</a:t>
                      </a:r>
                      <a:endParaRPr lang="ru-RU" sz="16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УКРМ</a:t>
                      </a:r>
                      <a:endParaRPr lang="ru-RU" sz="16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WEB-</a:t>
                      </a:r>
                      <a:r>
                        <a:rPr lang="ru-RU" sz="16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клиринг</a:t>
                      </a:r>
                      <a:endParaRPr lang="ru-RU" sz="16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Клир.</a:t>
                      </a:r>
                    </a:p>
                    <a:p>
                      <a:r>
                        <a:rPr lang="ru-RU" sz="1600" baseline="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терминал</a:t>
                      </a:r>
                      <a:endParaRPr lang="ru-RU" sz="16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solidFill>
                      <a:srgbClr val="C00000"/>
                    </a:solidFill>
                  </a:tcPr>
                </a:tc>
              </a:tr>
              <a:tr h="284976"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Современный </a:t>
                      </a:r>
                      <a:r>
                        <a:rPr lang="en-US" sz="14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Web-UI</a:t>
                      </a:r>
                      <a:endParaRPr lang="ru-RU" sz="14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-</a:t>
                      </a:r>
                      <a:endParaRPr lang="ru-RU" sz="14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+ </a:t>
                      </a:r>
                      <a:endParaRPr lang="ru-RU" sz="14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+</a:t>
                      </a:r>
                      <a:endParaRPr lang="ru-RU" sz="14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268208"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WEB-API</a:t>
                      </a:r>
                      <a:endParaRPr lang="ru-RU" sz="14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-</a:t>
                      </a:r>
                      <a:endParaRPr lang="ru-RU" sz="14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-</a:t>
                      </a:r>
                      <a:endParaRPr lang="ru-RU" sz="14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+</a:t>
                      </a:r>
                      <a:endParaRPr lang="ru-RU" sz="14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51440"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Объектная</a:t>
                      </a:r>
                      <a:r>
                        <a:rPr lang="ru-RU" sz="1400" baseline="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модель</a:t>
                      </a:r>
                      <a:endParaRPr lang="ru-RU" sz="14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-</a:t>
                      </a:r>
                      <a:endParaRPr lang="ru-RU" sz="14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-</a:t>
                      </a:r>
                      <a:endParaRPr lang="ru-RU" sz="14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+</a:t>
                      </a:r>
                      <a:endParaRPr lang="ru-RU" sz="14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234672"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Единая система для всех</a:t>
                      </a:r>
                      <a:r>
                        <a:rPr lang="ru-RU" sz="1400" baseline="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рынков</a:t>
                      </a:r>
                      <a:endParaRPr lang="ru-RU" sz="14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-</a:t>
                      </a:r>
                      <a:endParaRPr lang="ru-RU" sz="14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+ -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+</a:t>
                      </a:r>
                      <a:endParaRPr lang="ru-RU" sz="14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89912"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Высокая</a:t>
                      </a:r>
                      <a:r>
                        <a:rPr lang="ru-RU" sz="1400" baseline="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скорость отклика</a:t>
                      </a:r>
                      <a:endParaRPr lang="ru-RU" sz="14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-</a:t>
                      </a:r>
                      <a:endParaRPr lang="ru-RU" sz="14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+</a:t>
                      </a:r>
                      <a:endParaRPr lang="ru-RU" sz="14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+</a:t>
                      </a:r>
                      <a:endParaRPr lang="ru-RU" sz="14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289912"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Возможность двойного контроля</a:t>
                      </a:r>
                      <a:endParaRPr lang="ru-RU" sz="14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-</a:t>
                      </a:r>
                      <a:endParaRPr lang="ru-RU" sz="14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+</a:t>
                      </a:r>
                      <a:endParaRPr lang="ru-RU" sz="14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+</a:t>
                      </a:r>
                      <a:endParaRPr lang="ru-RU" sz="14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89912"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Сообщения</a:t>
                      </a:r>
                      <a:r>
                        <a:rPr lang="ru-RU" sz="1400" baseline="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в формате </a:t>
                      </a:r>
                      <a:r>
                        <a:rPr lang="en-US" sz="1400" baseline="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xml</a:t>
                      </a:r>
                      <a:endParaRPr lang="ru-RU" sz="14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-</a:t>
                      </a:r>
                      <a:endParaRPr lang="ru-RU" sz="14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-</a:t>
                      </a:r>
                      <a:endParaRPr lang="ru-RU" sz="14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+</a:t>
                      </a:r>
                      <a:endParaRPr lang="ru-RU" sz="14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289912"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Пакетная обработка запросов</a:t>
                      </a:r>
                      <a:endParaRPr lang="ru-RU" sz="14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-</a:t>
                      </a:r>
                      <a:endParaRPr lang="ru-RU" sz="14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+</a:t>
                      </a:r>
                      <a:endParaRPr lang="ru-RU" sz="14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+</a:t>
                      </a:r>
                      <a:endParaRPr lang="ru-RU" sz="14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89912"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Матрица</a:t>
                      </a:r>
                      <a:r>
                        <a:rPr lang="ru-RU" sz="1400" baseline="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ролей</a:t>
                      </a:r>
                      <a:endParaRPr lang="ru-RU" sz="14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-</a:t>
                      </a:r>
                      <a:endParaRPr lang="ru-RU" sz="14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+ -</a:t>
                      </a:r>
                      <a:endParaRPr lang="ru-RU" sz="14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+</a:t>
                      </a:r>
                      <a:endParaRPr lang="ru-RU" sz="14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609479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Прямая соединительная линия 4"/>
          <p:cNvCxnSpPr/>
          <p:nvPr/>
        </p:nvCxnSpPr>
        <p:spPr>
          <a:xfrm>
            <a:off x="571959" y="692696"/>
            <a:ext cx="8280920" cy="0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Прямоугольник 5"/>
          <p:cNvSpPr/>
          <p:nvPr/>
        </p:nvSpPr>
        <p:spPr>
          <a:xfrm>
            <a:off x="571959" y="144261"/>
            <a:ext cx="174118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онтакты</a:t>
            </a:r>
            <a:endParaRPr lang="ru-RU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567291" y="980728"/>
            <a:ext cx="3788686" cy="738664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lvl="0" algn="just">
              <a:spcBef>
                <a:spcPts val="600"/>
              </a:spcBef>
              <a:spcAft>
                <a:spcPts val="600"/>
              </a:spcAft>
            </a:pPr>
            <a:r>
              <a:rPr lang="ru-RU" sz="1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 вопросам подключения к </a:t>
            </a:r>
            <a:r>
              <a:rPr lang="en-US" sz="1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EB-</a:t>
            </a:r>
            <a:r>
              <a:rPr lang="ru-RU" sz="1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лиринг, по общим вопросам работы в </a:t>
            </a:r>
            <a:r>
              <a:rPr lang="en-US" sz="1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EB-</a:t>
            </a:r>
            <a:r>
              <a:rPr lang="ru-RU" sz="1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лиринг: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556280" y="2996952"/>
            <a:ext cx="3799698" cy="52322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lvl="0" algn="just">
              <a:spcBef>
                <a:spcPts val="600"/>
              </a:spcBef>
              <a:spcAft>
                <a:spcPts val="600"/>
              </a:spcAft>
            </a:pPr>
            <a:r>
              <a:rPr lang="ru-RU" sz="1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 вопросам развития</a:t>
            </a:r>
            <a:r>
              <a:rPr lang="en-US" sz="1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 доработок </a:t>
            </a:r>
            <a:r>
              <a:rPr lang="en-US" sz="1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EB-</a:t>
            </a:r>
            <a:r>
              <a:rPr lang="ru-RU" sz="1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лиринг: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4932040" y="980728"/>
            <a:ext cx="3788686" cy="155427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>
            <a:spAutoFit/>
          </a:bodyPr>
          <a:lstStyle/>
          <a:p>
            <a:pPr lvl="0">
              <a:spcBef>
                <a:spcPts val="600"/>
              </a:spcBef>
              <a:spcAft>
                <a:spcPts val="600"/>
              </a:spcAft>
            </a:pPr>
            <a:r>
              <a:rPr lang="ru-RU" sz="1400" b="1" dirty="0" smtClean="0">
                <a:solidFill>
                  <a:srgbClr val="C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 </a:t>
            </a:r>
            <a:r>
              <a:rPr lang="ru-RU" sz="1400" b="1" dirty="0">
                <a:solidFill>
                  <a:srgbClr val="C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тдел взаимодействия с Участниками </a:t>
            </a:r>
            <a:r>
              <a:rPr lang="ru-RU" sz="1400" b="1" dirty="0" smtClean="0">
                <a:solidFill>
                  <a:srgbClr val="C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лиринга </a:t>
            </a:r>
          </a:p>
          <a:p>
            <a:pPr lvl="0">
              <a:spcBef>
                <a:spcPts val="600"/>
              </a:spcBef>
              <a:spcAft>
                <a:spcPts val="600"/>
              </a:spcAft>
            </a:pPr>
            <a:r>
              <a:rPr lang="ru-RU" sz="1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ел</a:t>
            </a:r>
            <a:r>
              <a:rPr lang="ru-RU" sz="1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 </a:t>
            </a:r>
            <a:r>
              <a:rPr lang="en-US" sz="1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+7 </a:t>
            </a:r>
            <a:r>
              <a:rPr lang="ru-RU" sz="1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495</a:t>
            </a:r>
            <a:r>
              <a:rPr lang="ru-RU" sz="1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) </a:t>
            </a:r>
            <a:r>
              <a:rPr lang="ru-RU" sz="1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63-32-32,</a:t>
            </a:r>
          </a:p>
          <a:p>
            <a:pPr lvl="0">
              <a:spcAft>
                <a:spcPts val="600"/>
              </a:spcAft>
            </a:pPr>
            <a:r>
              <a:rPr lang="ru-RU" sz="1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        доб</a:t>
            </a:r>
            <a:r>
              <a:rPr lang="ru-RU" sz="1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 1056, 1431, 2061</a:t>
            </a:r>
            <a:r>
              <a:rPr lang="ru-RU" sz="1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endParaRPr lang="en-US" sz="1400" b="1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lvl="0">
              <a:spcBef>
                <a:spcPts val="600"/>
              </a:spcBef>
              <a:spcAft>
                <a:spcPts val="600"/>
              </a:spcAft>
            </a:pPr>
            <a:r>
              <a:rPr lang="en-US" sz="1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-mail</a:t>
            </a:r>
            <a:r>
              <a:rPr lang="en-US" sz="1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:</a:t>
            </a:r>
            <a:r>
              <a:rPr lang="ru-RU" sz="1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1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hlinkClick r:id="rId2"/>
              </a:rPr>
              <a:t>ccl@moex.com</a:t>
            </a:r>
            <a:endParaRPr lang="ru-RU" sz="1400" b="1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4932040" y="2996952"/>
            <a:ext cx="3788686" cy="126188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>
            <a:spAutoFit/>
          </a:bodyPr>
          <a:lstStyle/>
          <a:p>
            <a:pPr lvl="0">
              <a:spcBef>
                <a:spcPts val="600"/>
              </a:spcBef>
              <a:spcAft>
                <a:spcPts val="600"/>
              </a:spcAft>
            </a:pPr>
            <a:r>
              <a:rPr lang="ru-RU" sz="1400" b="1" dirty="0" smtClean="0">
                <a:solidFill>
                  <a:srgbClr val="C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 Управление продвижения клиринговых услуг</a:t>
            </a:r>
          </a:p>
          <a:p>
            <a:pPr lvl="0">
              <a:spcBef>
                <a:spcPts val="600"/>
              </a:spcBef>
              <a:spcAft>
                <a:spcPts val="600"/>
              </a:spcAft>
            </a:pPr>
            <a:r>
              <a:rPr lang="ru-RU" sz="1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ел</a:t>
            </a:r>
            <a:r>
              <a:rPr lang="ru-RU" sz="1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 </a:t>
            </a:r>
            <a:r>
              <a:rPr lang="en-US" sz="1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+7 </a:t>
            </a:r>
            <a:r>
              <a:rPr lang="ru-RU" sz="1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495</a:t>
            </a:r>
            <a:r>
              <a:rPr lang="ru-RU" sz="1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) </a:t>
            </a:r>
            <a:r>
              <a:rPr lang="ru-RU" sz="1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63-32-32 </a:t>
            </a:r>
            <a:endParaRPr lang="en-US" sz="1400" b="1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lvl="0">
              <a:spcBef>
                <a:spcPts val="600"/>
              </a:spcBef>
              <a:spcAft>
                <a:spcPts val="600"/>
              </a:spcAft>
            </a:pPr>
            <a:r>
              <a:rPr lang="en-US" sz="1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-mail</a:t>
            </a:r>
            <a:r>
              <a:rPr lang="en-US" sz="1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:</a:t>
            </a:r>
            <a:r>
              <a:rPr lang="ru-RU" sz="1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1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hlinkClick r:id="rId3"/>
              </a:rPr>
              <a:t>ps@moex.com</a:t>
            </a:r>
            <a:endParaRPr lang="ru-RU" sz="1400" b="1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209504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Прямая соединительная линия 4"/>
          <p:cNvCxnSpPr/>
          <p:nvPr/>
        </p:nvCxnSpPr>
        <p:spPr>
          <a:xfrm>
            <a:off x="539552" y="1484784"/>
            <a:ext cx="8280920" cy="0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Подзаголовок 2"/>
          <p:cNvSpPr txBox="1">
            <a:spLocks/>
          </p:cNvSpPr>
          <p:nvPr/>
        </p:nvSpPr>
        <p:spPr bwMode="auto">
          <a:xfrm>
            <a:off x="1052513" y="422275"/>
            <a:ext cx="8002587" cy="10625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r>
              <a:rPr lang="ru-RU" sz="28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ПАСИБО</a:t>
            </a:r>
          </a:p>
          <a:p>
            <a:r>
              <a:rPr lang="ru-RU" sz="28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ЗА ВНИМАНИЕ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1052513" y="2276872"/>
            <a:ext cx="4536504" cy="2215991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lvl="0">
              <a:spcBef>
                <a:spcPts val="600"/>
              </a:spcBef>
              <a:spcAft>
                <a:spcPts val="600"/>
              </a:spcAft>
            </a:pPr>
            <a:r>
              <a:rPr lang="ru-RU" sz="14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лла Печерская</a:t>
            </a:r>
            <a:endParaRPr lang="en-US" sz="1400" dirty="0">
              <a:solidFill>
                <a:srgbClr val="0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lvl="0">
              <a:spcBef>
                <a:spcPts val="600"/>
              </a:spcBef>
              <a:spcAft>
                <a:spcPts val="600"/>
              </a:spcAft>
            </a:pPr>
            <a:r>
              <a:rPr lang="ru-RU" sz="14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анк НКЦ (АО)</a:t>
            </a:r>
          </a:p>
          <a:p>
            <a:pPr lvl="0">
              <a:spcAft>
                <a:spcPts val="600"/>
              </a:spcAft>
            </a:pPr>
            <a:r>
              <a:rPr lang="ru-RU" sz="14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Управление </a:t>
            </a:r>
            <a:r>
              <a:rPr lang="ru-RU" sz="14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одвижения </a:t>
            </a:r>
            <a:r>
              <a:rPr lang="ru-RU" sz="14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 информационной поддержки клиринговых услуг Департамента Клиринга</a:t>
            </a:r>
            <a:endParaRPr lang="ru-RU" sz="1400" dirty="0" smtClean="0">
              <a:solidFill>
                <a:srgbClr val="0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lvl="0">
              <a:spcBef>
                <a:spcPts val="600"/>
              </a:spcBef>
              <a:spcAft>
                <a:spcPts val="600"/>
              </a:spcAft>
            </a:pPr>
            <a:r>
              <a:rPr lang="ru-RU" sz="14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</a:t>
            </a:r>
            <a:r>
              <a:rPr lang="ru-RU" sz="14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ел</a:t>
            </a:r>
            <a:r>
              <a:rPr lang="ru-RU" sz="14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 </a:t>
            </a:r>
            <a:r>
              <a:rPr lang="en-US" sz="14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+7 </a:t>
            </a:r>
            <a:r>
              <a:rPr lang="ru-RU" sz="14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495</a:t>
            </a:r>
            <a:r>
              <a:rPr lang="ru-RU" sz="14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) </a:t>
            </a:r>
            <a:r>
              <a:rPr lang="ru-RU" sz="14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63-32-32, доб. 1458</a:t>
            </a:r>
            <a:endParaRPr lang="en-US" sz="1400" dirty="0" smtClean="0">
              <a:solidFill>
                <a:srgbClr val="0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lvl="0">
              <a:spcBef>
                <a:spcPts val="600"/>
              </a:spcBef>
              <a:spcAft>
                <a:spcPts val="600"/>
              </a:spcAft>
            </a:pPr>
            <a:r>
              <a:rPr lang="en-US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</a:t>
            </a:r>
            <a:r>
              <a:rPr lang="en-US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-mail</a:t>
            </a:r>
            <a:r>
              <a:rPr lang="en-US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:</a:t>
            </a:r>
            <a:r>
              <a:rPr 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hlinkClick r:id="rId2"/>
              </a:rPr>
              <a:t>ps@moex.com</a:t>
            </a:r>
            <a:endParaRPr lang="ru-RU" sz="14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391637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Прямая соединительная линия 4"/>
          <p:cNvCxnSpPr/>
          <p:nvPr/>
        </p:nvCxnSpPr>
        <p:spPr>
          <a:xfrm>
            <a:off x="533264" y="692696"/>
            <a:ext cx="8280920" cy="0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Прямоугольник 5"/>
          <p:cNvSpPr/>
          <p:nvPr/>
        </p:nvSpPr>
        <p:spPr>
          <a:xfrm>
            <a:off x="448321" y="144261"/>
            <a:ext cx="836586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окументооборот между НКЦ и Участником клиринга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533264" y="5444435"/>
            <a:ext cx="8365863" cy="646331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2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окумент «Формы и форматы документов, предоставляемых Участниками клиринга» устанавливает формы бумажных документов, а также форматы электронных документов, которые предоставляют в НКЦ Участники клиринга в соответствии с Правилами клиринга НКЦ.</a:t>
            </a:r>
          </a:p>
        </p:txBody>
      </p:sp>
      <p:cxnSp>
        <p:nvCxnSpPr>
          <p:cNvPr id="14" name="Прямая соединительная линия 13"/>
          <p:cNvCxnSpPr/>
          <p:nvPr/>
        </p:nvCxnSpPr>
        <p:spPr>
          <a:xfrm>
            <a:off x="551847" y="5301208"/>
            <a:ext cx="8280920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Прямоугольник 17"/>
          <p:cNvSpPr/>
          <p:nvPr/>
        </p:nvSpPr>
        <p:spPr>
          <a:xfrm>
            <a:off x="4278320" y="1300812"/>
            <a:ext cx="4596918" cy="646331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lvl="0" algn="just"/>
            <a:r>
              <a:rPr lang="ru-RU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аждый документ НКЦ «Формы и форматы документов, предоставляемых Участниками клиринга» на каждом биржевом рынке включает две основные части: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625422" y="2968679"/>
            <a:ext cx="1933794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>
                <a:solidFill>
                  <a:srgbClr val="C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Формы и форматы документов, предоставляемых Участниками клиринга на определенном рынке </a:t>
            </a:r>
            <a:endParaRPr lang="ru-RU" sz="1400" dirty="0">
              <a:solidFill>
                <a:srgbClr val="C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4211960" y="2534944"/>
            <a:ext cx="4535864" cy="10464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Часть 1: </a:t>
            </a:r>
            <a:r>
              <a:rPr lang="ru-RU" sz="1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Формы документов в бумажном виде</a:t>
            </a:r>
          </a:p>
          <a:p>
            <a:r>
              <a:rPr lang="ru-RU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одержит все формы документов (относящиеся к определенному рынку), которые Участник клиринга может направлять в НКЦ </a:t>
            </a:r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 бумажном </a:t>
            </a:r>
            <a:r>
              <a:rPr lang="ru-RU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иде, в соответствии с Правилами клиринга</a:t>
            </a:r>
            <a:endParaRPr lang="ru-RU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4278320" y="3874605"/>
            <a:ext cx="4535864" cy="12618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Часть 2:</a:t>
            </a:r>
            <a:r>
              <a:rPr lang="ru-RU" sz="1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Форматы документов в электронном виде</a:t>
            </a:r>
          </a:p>
          <a:p>
            <a:r>
              <a:rPr lang="ru-RU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одержит подробное формализованное описание форматов всех электронных документов, которые Участник клиринга может направлять в НКЦ по ЭДО, в </a:t>
            </a:r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оответствии с Правилами </a:t>
            </a:r>
            <a:r>
              <a:rPr lang="ru-RU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лиринга</a:t>
            </a:r>
            <a:endParaRPr lang="ru-RU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3" name="Стрелка вправо 22"/>
          <p:cNvSpPr/>
          <p:nvPr/>
        </p:nvSpPr>
        <p:spPr>
          <a:xfrm>
            <a:off x="2735654" y="2980481"/>
            <a:ext cx="1476306" cy="150587"/>
          </a:xfrm>
          <a:prstGeom prst="rightArrow">
            <a:avLst/>
          </a:prstGeom>
          <a:solidFill>
            <a:schemeClr val="bg1">
              <a:lumMod val="65000"/>
            </a:schemeClr>
          </a:solidFill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Загнутый угол 25"/>
          <p:cNvSpPr/>
          <p:nvPr/>
        </p:nvSpPr>
        <p:spPr>
          <a:xfrm>
            <a:off x="574441" y="870856"/>
            <a:ext cx="2035760" cy="1339661"/>
          </a:xfrm>
          <a:prstGeom prst="foldedCorner">
            <a:avLst/>
          </a:prstGeom>
          <a:noFill/>
          <a:ln w="1905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TextBox 26"/>
          <p:cNvSpPr txBox="1"/>
          <p:nvPr/>
        </p:nvSpPr>
        <p:spPr>
          <a:xfrm>
            <a:off x="755576" y="1075903"/>
            <a:ext cx="150039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>
                <a:solidFill>
                  <a:srgbClr val="C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авила клиринга </a:t>
            </a:r>
          </a:p>
          <a:p>
            <a:r>
              <a:rPr lang="ru-RU" sz="1600" dirty="0" smtClean="0">
                <a:solidFill>
                  <a:srgbClr val="C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КЦ </a:t>
            </a:r>
            <a:endParaRPr lang="ru-RU" sz="1600" dirty="0">
              <a:solidFill>
                <a:srgbClr val="C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8" name="Загнутый угол 27"/>
          <p:cNvSpPr/>
          <p:nvPr/>
        </p:nvSpPr>
        <p:spPr>
          <a:xfrm>
            <a:off x="574439" y="2534944"/>
            <a:ext cx="2035761" cy="2601545"/>
          </a:xfrm>
          <a:prstGeom prst="foldedCorner">
            <a:avLst/>
          </a:prstGeom>
          <a:noFill/>
          <a:ln w="19050">
            <a:solidFill>
              <a:schemeClr val="tx1">
                <a:lumMod val="50000"/>
                <a:lumOff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9" name="Стрелка вниз 28"/>
          <p:cNvSpPr/>
          <p:nvPr/>
        </p:nvSpPr>
        <p:spPr>
          <a:xfrm>
            <a:off x="1433763" y="2210517"/>
            <a:ext cx="144016" cy="324427"/>
          </a:xfrm>
          <a:prstGeom prst="downArrow">
            <a:avLst/>
          </a:prstGeom>
          <a:solidFill>
            <a:schemeClr val="bg1">
              <a:lumMod val="65000"/>
            </a:schemeClr>
          </a:solidFill>
          <a:ln w="317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Стрелка вправо 15"/>
          <p:cNvSpPr/>
          <p:nvPr/>
        </p:nvSpPr>
        <p:spPr>
          <a:xfrm>
            <a:off x="2735654" y="4380206"/>
            <a:ext cx="1476306" cy="150587"/>
          </a:xfrm>
          <a:prstGeom prst="rightArrow">
            <a:avLst/>
          </a:prstGeom>
          <a:solidFill>
            <a:schemeClr val="bg1">
              <a:lumMod val="65000"/>
            </a:schemeClr>
          </a:solidFill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576705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Прямая соединительная линия 4"/>
          <p:cNvCxnSpPr/>
          <p:nvPr/>
        </p:nvCxnSpPr>
        <p:spPr>
          <a:xfrm>
            <a:off x="533264" y="692696"/>
            <a:ext cx="8280920" cy="0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Прямоугольник 5"/>
          <p:cNvSpPr/>
          <p:nvPr/>
        </p:nvSpPr>
        <p:spPr>
          <a:xfrm>
            <a:off x="448321" y="144261"/>
            <a:ext cx="836586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окументооборот между НКЦ и Участником клиринга</a:t>
            </a:r>
          </a:p>
        </p:txBody>
      </p:sp>
      <p:grpSp>
        <p:nvGrpSpPr>
          <p:cNvPr id="4" name="Группа 3"/>
          <p:cNvGrpSpPr/>
          <p:nvPr/>
        </p:nvGrpSpPr>
        <p:grpSpPr>
          <a:xfrm>
            <a:off x="1664955" y="1118107"/>
            <a:ext cx="5932594" cy="1630635"/>
            <a:chOff x="1663742" y="1121193"/>
            <a:chExt cx="5932594" cy="1630635"/>
          </a:xfrm>
        </p:grpSpPr>
        <p:sp>
          <p:nvSpPr>
            <p:cNvPr id="18" name="Прямоугольник 17"/>
            <p:cNvSpPr/>
            <p:nvPr/>
          </p:nvSpPr>
          <p:spPr>
            <a:xfrm>
              <a:off x="1691680" y="1121193"/>
              <a:ext cx="5904656" cy="338554"/>
            </a:xfrm>
            <a:prstGeom prst="rect">
              <a:avLst/>
            </a:prstGeom>
            <a:ln w="19050">
              <a:solidFill>
                <a:schemeClr val="tx1">
                  <a:lumMod val="65000"/>
                  <a:lumOff val="35000"/>
                </a:schemeClr>
              </a:solidFill>
            </a:ln>
          </p:spPr>
          <p:txBody>
            <a:bodyPr wrap="square">
              <a:spAutoFit/>
            </a:bodyPr>
            <a:lstStyle/>
            <a:p>
              <a:pPr lvl="0" algn="ctr"/>
              <a:r>
                <a:rPr lang="ru-RU" sz="1600" b="1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Каналы документооборота</a:t>
              </a:r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1663742" y="2417298"/>
              <a:ext cx="883879" cy="307777"/>
            </a:xfrm>
            <a:prstGeom prst="rect">
              <a:avLst/>
            </a:prstGeom>
            <a:noFill/>
            <a:ln w="19050">
              <a:solidFill>
                <a:schemeClr val="tx1">
                  <a:lumMod val="65000"/>
                  <a:lumOff val="35000"/>
                </a:schemeClr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400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Бумага</a:t>
              </a:r>
              <a:endParaRPr 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3769901" y="2444051"/>
              <a:ext cx="1842998" cy="307777"/>
            </a:xfrm>
            <a:prstGeom prst="rect">
              <a:avLst/>
            </a:prstGeom>
            <a:noFill/>
            <a:ln w="19050">
              <a:solidFill>
                <a:schemeClr val="tx1">
                  <a:lumMod val="65000"/>
                  <a:lumOff val="35000"/>
                </a:schemeClr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400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ЭДО</a:t>
              </a:r>
              <a:endParaRPr 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29" name="Стрелка вниз 28"/>
            <p:cNvSpPr/>
            <p:nvPr/>
          </p:nvSpPr>
          <p:spPr>
            <a:xfrm>
              <a:off x="2061509" y="1563816"/>
              <a:ext cx="144016" cy="749413"/>
            </a:xfrm>
            <a:prstGeom prst="downArrow">
              <a:avLst/>
            </a:prstGeom>
            <a:solidFill>
              <a:schemeClr val="bg1">
                <a:lumMod val="65000"/>
              </a:schemeClr>
            </a:solidFill>
            <a:ln w="3175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6653917" y="2417297"/>
              <a:ext cx="942419" cy="307777"/>
            </a:xfrm>
            <a:prstGeom prst="rect">
              <a:avLst/>
            </a:prstGeom>
            <a:noFill/>
            <a:ln w="19050">
              <a:solidFill>
                <a:schemeClr val="tx1">
                  <a:lumMod val="65000"/>
                  <a:lumOff val="35000"/>
                </a:schemeClr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SWIFT</a:t>
              </a:r>
              <a:endParaRPr 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7" name="Стрелка вниз 16"/>
            <p:cNvSpPr/>
            <p:nvPr/>
          </p:nvSpPr>
          <p:spPr>
            <a:xfrm>
              <a:off x="4571078" y="1551400"/>
              <a:ext cx="144016" cy="749413"/>
            </a:xfrm>
            <a:prstGeom prst="downArrow">
              <a:avLst/>
            </a:prstGeom>
            <a:solidFill>
              <a:schemeClr val="bg1">
                <a:lumMod val="65000"/>
              </a:schemeClr>
            </a:solidFill>
            <a:ln w="3175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2" name="Стрелка вниз 21"/>
            <p:cNvSpPr/>
            <p:nvPr/>
          </p:nvSpPr>
          <p:spPr>
            <a:xfrm>
              <a:off x="7036554" y="1567118"/>
              <a:ext cx="144016" cy="749413"/>
            </a:xfrm>
            <a:prstGeom prst="downArrow">
              <a:avLst/>
            </a:prstGeom>
            <a:solidFill>
              <a:schemeClr val="bg1">
                <a:lumMod val="65000"/>
              </a:schemeClr>
            </a:solidFill>
            <a:ln w="3175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cxnSp>
        <p:nvCxnSpPr>
          <p:cNvPr id="8" name="Прямая со стрелкой 7"/>
          <p:cNvCxnSpPr/>
          <p:nvPr/>
        </p:nvCxnSpPr>
        <p:spPr>
          <a:xfrm flipH="1">
            <a:off x="2711885" y="2812017"/>
            <a:ext cx="1080120" cy="545238"/>
          </a:xfrm>
          <a:prstGeom prst="straightConnector1">
            <a:avLst/>
          </a:prstGeom>
          <a:ln w="57150">
            <a:solidFill>
              <a:schemeClr val="bg1">
                <a:lumMod val="65000"/>
              </a:schemeClr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Прямая со стрелкой 30"/>
          <p:cNvCxnSpPr/>
          <p:nvPr/>
        </p:nvCxnSpPr>
        <p:spPr>
          <a:xfrm>
            <a:off x="5670686" y="2800633"/>
            <a:ext cx="1169256" cy="539780"/>
          </a:xfrm>
          <a:prstGeom prst="straightConnector1">
            <a:avLst/>
          </a:prstGeom>
          <a:ln w="57150">
            <a:solidFill>
              <a:schemeClr val="bg1">
                <a:lumMod val="65000"/>
              </a:schemeClr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Прямая со стрелкой 37"/>
          <p:cNvCxnSpPr/>
          <p:nvPr/>
        </p:nvCxnSpPr>
        <p:spPr>
          <a:xfrm>
            <a:off x="4697580" y="2833711"/>
            <a:ext cx="9622" cy="536583"/>
          </a:xfrm>
          <a:prstGeom prst="straightConnector1">
            <a:avLst/>
          </a:prstGeom>
          <a:ln w="57150">
            <a:solidFill>
              <a:schemeClr val="bg1">
                <a:lumMod val="65000"/>
              </a:schemeClr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1" name="Группа 40"/>
          <p:cNvGrpSpPr/>
          <p:nvPr/>
        </p:nvGrpSpPr>
        <p:grpSpPr>
          <a:xfrm>
            <a:off x="1459577" y="3384540"/>
            <a:ext cx="1980694" cy="801911"/>
            <a:chOff x="1619672" y="3357255"/>
            <a:chExt cx="1872208" cy="573859"/>
          </a:xfrm>
        </p:grpSpPr>
        <p:sp>
          <p:nvSpPr>
            <p:cNvPr id="3" name="TextBox 2"/>
            <p:cNvSpPr txBox="1"/>
            <p:nvPr/>
          </p:nvSpPr>
          <p:spPr>
            <a:xfrm>
              <a:off x="1705274" y="3483596"/>
              <a:ext cx="1656184" cy="24227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600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УКРМ УК НКЦ</a:t>
              </a:r>
            </a:p>
          </p:txBody>
        </p:sp>
        <p:sp>
          <p:nvSpPr>
            <p:cNvPr id="40" name="Скругленный прямоугольник 39"/>
            <p:cNvSpPr/>
            <p:nvPr/>
          </p:nvSpPr>
          <p:spPr>
            <a:xfrm>
              <a:off x="1619672" y="3357255"/>
              <a:ext cx="1872208" cy="573859"/>
            </a:xfrm>
            <a:prstGeom prst="roundRect">
              <a:avLst/>
            </a:prstGeom>
            <a:noFill/>
            <a:ln w="1905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44" name="Группа 43"/>
          <p:cNvGrpSpPr/>
          <p:nvPr/>
        </p:nvGrpSpPr>
        <p:grpSpPr>
          <a:xfrm>
            <a:off x="3716855" y="3384540"/>
            <a:ext cx="1980694" cy="801911"/>
            <a:chOff x="3827688" y="3378108"/>
            <a:chExt cx="1980694" cy="801911"/>
          </a:xfrm>
        </p:grpSpPr>
        <p:sp>
          <p:nvSpPr>
            <p:cNvPr id="24" name="TextBox 23"/>
            <p:cNvSpPr txBox="1"/>
            <p:nvPr/>
          </p:nvSpPr>
          <p:spPr>
            <a:xfrm>
              <a:off x="3936206" y="3483275"/>
              <a:ext cx="1734480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6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Почта </a:t>
              </a:r>
              <a:r>
                <a:rPr lang="en-US" sz="1600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mars.micex.ru</a:t>
              </a:r>
              <a:endPara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42" name="Скругленный прямоугольник 41"/>
            <p:cNvSpPr/>
            <p:nvPr/>
          </p:nvSpPr>
          <p:spPr>
            <a:xfrm>
              <a:off x="3827688" y="3378108"/>
              <a:ext cx="1980694" cy="801911"/>
            </a:xfrm>
            <a:prstGeom prst="roundRect">
              <a:avLst/>
            </a:prstGeom>
            <a:noFill/>
            <a:ln w="1905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45" name="Группа 44"/>
          <p:cNvGrpSpPr/>
          <p:nvPr/>
        </p:nvGrpSpPr>
        <p:grpSpPr>
          <a:xfrm>
            <a:off x="6000174" y="3384540"/>
            <a:ext cx="1980694" cy="801911"/>
            <a:chOff x="6108692" y="3364117"/>
            <a:chExt cx="1980694" cy="801911"/>
          </a:xfrm>
        </p:grpSpPr>
        <p:sp>
          <p:nvSpPr>
            <p:cNvPr id="30" name="TextBox 29"/>
            <p:cNvSpPr txBox="1"/>
            <p:nvPr/>
          </p:nvSpPr>
          <p:spPr>
            <a:xfrm>
              <a:off x="6381780" y="3543163"/>
              <a:ext cx="1656184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>
                  <a:solidFill>
                    <a:srgbClr val="C0000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WEB-</a:t>
              </a:r>
              <a:r>
                <a:rPr lang="ru-RU" sz="1600" dirty="0" smtClean="0">
                  <a:solidFill>
                    <a:srgbClr val="C0000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клиринг</a:t>
              </a:r>
            </a:p>
          </p:txBody>
        </p:sp>
        <p:sp>
          <p:nvSpPr>
            <p:cNvPr id="43" name="Скругленный прямоугольник 42"/>
            <p:cNvSpPr/>
            <p:nvPr/>
          </p:nvSpPr>
          <p:spPr>
            <a:xfrm>
              <a:off x="6108692" y="3364117"/>
              <a:ext cx="1980694" cy="801911"/>
            </a:xfrm>
            <a:prstGeom prst="roundRect">
              <a:avLst/>
            </a:prstGeom>
            <a:noFill/>
            <a:ln w="1905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cxnSp>
        <p:nvCxnSpPr>
          <p:cNvPr id="46" name="Прямая соединительная линия 45"/>
          <p:cNvCxnSpPr/>
          <p:nvPr/>
        </p:nvCxnSpPr>
        <p:spPr>
          <a:xfrm>
            <a:off x="618319" y="4509120"/>
            <a:ext cx="8280920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46"/>
          <p:cNvSpPr txBox="1"/>
          <p:nvPr/>
        </p:nvSpPr>
        <p:spPr>
          <a:xfrm>
            <a:off x="749906" y="4714974"/>
            <a:ext cx="7914592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600"/>
              </a:spcAft>
              <a:buClr>
                <a:srgbClr val="C00000"/>
              </a:buClr>
              <a:buSzPct val="130000"/>
              <a:buFont typeface="Wingdings" panose="05000000000000000000" pitchFamily="2" charset="2"/>
              <a:buChar char="§"/>
            </a:pPr>
            <a:r>
              <a:rPr 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чта </a:t>
            </a:r>
            <a:r>
              <a:rPr lang="en-US" sz="1400" b="1" dirty="0">
                <a:solidFill>
                  <a:srgbClr val="C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ars.micex.ru</a:t>
            </a:r>
            <a:r>
              <a:rPr lang="ru-RU" sz="1400" b="1" dirty="0">
                <a:solidFill>
                  <a:srgbClr val="C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: </a:t>
            </a:r>
            <a:r>
              <a:rPr 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спользуется собственное ПО Участника клиринга</a:t>
            </a:r>
          </a:p>
          <a:p>
            <a:pPr marL="285750" indent="-285750">
              <a:spcAft>
                <a:spcPts val="600"/>
              </a:spcAft>
              <a:buClr>
                <a:srgbClr val="C00000"/>
              </a:buClr>
              <a:buSzPct val="130000"/>
              <a:buFont typeface="Wingdings" panose="05000000000000000000" pitchFamily="2" charset="2"/>
              <a:buChar char="§"/>
            </a:pPr>
            <a:r>
              <a:rPr lang="ru-RU" sz="1400" b="1" dirty="0" smtClean="0">
                <a:solidFill>
                  <a:srgbClr val="C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УКРМ УК НКЦ: </a:t>
            </a:r>
            <a:r>
              <a:rPr lang="ru-RU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Универсальное клиентское рабочее место Участника клиринга – ПО, разработанное НКЦ, мастер шаблонов запросов, направляемых в НКЦ</a:t>
            </a:r>
          </a:p>
          <a:p>
            <a:pPr marL="285750" indent="-285750">
              <a:spcAft>
                <a:spcPts val="600"/>
              </a:spcAft>
              <a:buClr>
                <a:srgbClr val="C00000"/>
              </a:buClr>
              <a:buSzPct val="130000"/>
              <a:buFont typeface="Wingdings" panose="05000000000000000000" pitchFamily="2" charset="2"/>
              <a:buChar char="§"/>
            </a:pPr>
            <a:r>
              <a:rPr lang="ru-RU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ервис </a:t>
            </a:r>
            <a:r>
              <a:rPr lang="en-US" sz="1400" b="1" dirty="0">
                <a:solidFill>
                  <a:srgbClr val="C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EB-</a:t>
            </a:r>
            <a:r>
              <a:rPr lang="ru-RU" sz="1400" b="1" dirty="0">
                <a:solidFill>
                  <a:srgbClr val="C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лиринг: </a:t>
            </a:r>
            <a:r>
              <a:rPr lang="ru-RU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овая система документооборота с НКЦ, первая версия Клирингового терминала</a:t>
            </a:r>
          </a:p>
        </p:txBody>
      </p:sp>
    </p:spTree>
    <p:extLst>
      <p:ext uri="{BB962C8B-B14F-4D97-AF65-F5344CB8AC3E}">
        <p14:creationId xmlns:p14="http://schemas.microsoft.com/office/powerpoint/2010/main" val="37043043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Прямая соединительная линия 4"/>
          <p:cNvCxnSpPr/>
          <p:nvPr/>
        </p:nvCxnSpPr>
        <p:spPr>
          <a:xfrm>
            <a:off x="571959" y="692696"/>
            <a:ext cx="8280920" cy="0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Прямоугольник 5"/>
          <p:cNvSpPr/>
          <p:nvPr/>
        </p:nvSpPr>
        <p:spPr>
          <a:xfrm>
            <a:off x="571959" y="144261"/>
            <a:ext cx="236955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УКРМ УК НКЦ</a:t>
            </a:r>
            <a:endParaRPr lang="ru-RU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>
            <a:off x="529487" y="5963427"/>
            <a:ext cx="8280920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Прямоугольник 11"/>
          <p:cNvSpPr/>
          <p:nvPr/>
        </p:nvSpPr>
        <p:spPr>
          <a:xfrm>
            <a:off x="529487" y="980728"/>
            <a:ext cx="2818377" cy="276998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wrap="square">
            <a:spAutoFit/>
          </a:bodyPr>
          <a:lstStyle/>
          <a:p>
            <a:pPr lvl="0">
              <a:spcBef>
                <a:spcPts val="600"/>
              </a:spcBef>
            </a:pPr>
            <a:r>
              <a:rPr lang="ru-RU" sz="12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Удобно:</a:t>
            </a:r>
          </a:p>
          <a:p>
            <a:pPr marL="171450" lvl="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2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втоматическое формирование заявлений в формате, соответствующем Правилам клиринга</a:t>
            </a:r>
          </a:p>
          <a:p>
            <a:pPr marL="171450" lvl="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2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втоматическая отправка сформированных заявлений</a:t>
            </a:r>
          </a:p>
          <a:p>
            <a:pPr marL="171450" lvl="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2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тображение всех клиринговых отчетов в УКРМ</a:t>
            </a:r>
          </a:p>
          <a:p>
            <a:pPr marL="171450" lvl="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ru-RU" sz="12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spcBef>
                <a:spcPts val="600"/>
              </a:spcBef>
            </a:pPr>
            <a:endParaRPr lang="ru-RU" sz="12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spcBef>
                <a:spcPts val="600"/>
              </a:spcBef>
            </a:pPr>
            <a:endParaRPr lang="ru-RU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3995937" y="986384"/>
            <a:ext cx="4470962" cy="273921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txBody>
          <a:bodyPr wrap="square">
            <a:spAutoFit/>
          </a:bodyPr>
          <a:lstStyle/>
          <a:p>
            <a:pPr lvl="0">
              <a:spcBef>
                <a:spcPts val="600"/>
              </a:spcBef>
            </a:pPr>
            <a:r>
              <a:rPr lang="ru-RU" sz="12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еудобно:</a:t>
            </a:r>
          </a:p>
          <a:p>
            <a:pPr marL="171450" lvl="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2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еобходимость установки каждой новой версии УКРМ </a:t>
            </a:r>
          </a:p>
          <a:p>
            <a:pPr marL="171450" lvl="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2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еудобный несовременный интерфейс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2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екстовый формат заявлений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2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едостаточно </a:t>
            </a:r>
            <a:r>
              <a:rPr lang="ru-RU" sz="12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ыстрый отклик системы</a:t>
            </a:r>
          </a:p>
          <a:p>
            <a:pPr marL="171450" lvl="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2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е поддерживается возможность двух подписей</a:t>
            </a:r>
          </a:p>
          <a:p>
            <a:pPr marL="171450" lvl="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2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еобходимость </a:t>
            </a:r>
            <a:r>
              <a:rPr lang="ru-RU" sz="12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установки отдельных приложений УКРМ УК НКЦ для разных рынков </a:t>
            </a:r>
            <a:endParaRPr lang="ru-RU" sz="1200" b="1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1450" lvl="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2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едленная пакетная обработка</a:t>
            </a:r>
          </a:p>
          <a:p>
            <a:pPr marL="171450" lvl="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2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тсутствие программного интерфейса</a:t>
            </a:r>
          </a:p>
        </p:txBody>
      </p:sp>
      <p:sp>
        <p:nvSpPr>
          <p:cNvPr id="11" name="Стрелка вниз 10"/>
          <p:cNvSpPr/>
          <p:nvPr/>
        </p:nvSpPr>
        <p:spPr>
          <a:xfrm>
            <a:off x="3877859" y="3861048"/>
            <a:ext cx="792088" cy="792088"/>
          </a:xfrm>
          <a:prstGeom prst="downArrow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Прямоугольник 13"/>
          <p:cNvSpPr/>
          <p:nvPr/>
        </p:nvSpPr>
        <p:spPr>
          <a:xfrm>
            <a:off x="571959" y="4797152"/>
            <a:ext cx="7894939" cy="1031051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lvl="0" algn="ctr">
              <a:spcBef>
                <a:spcPts val="600"/>
              </a:spcBef>
            </a:pPr>
            <a:r>
              <a:rPr lang="ru-RU" sz="1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азработка нового ПО -  </a:t>
            </a:r>
            <a:r>
              <a:rPr lang="ru-RU" sz="1400" b="1" dirty="0" smtClean="0">
                <a:solidFill>
                  <a:srgbClr val="C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лиринговый терминал - </a:t>
            </a:r>
          </a:p>
          <a:p>
            <a:pPr lvl="0" algn="just">
              <a:spcBef>
                <a:spcPts val="600"/>
              </a:spcBef>
            </a:pPr>
            <a:r>
              <a:rPr lang="ru-RU" sz="1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</a:t>
            </a:r>
            <a:r>
              <a:rPr lang="ru-RU" sz="1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стема, позволяющая Участнику клиринга работать со своими клиринговыми объектами в интуитивно понятном графическом </a:t>
            </a:r>
            <a:r>
              <a:rPr lang="en-US" sz="1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eb-</a:t>
            </a:r>
            <a:r>
              <a:rPr lang="ru-RU" sz="1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нтерфейсе, в соответствии с Правилами клиринга НКЦ</a:t>
            </a:r>
          </a:p>
        </p:txBody>
      </p:sp>
    </p:spTree>
    <p:extLst>
      <p:ext uri="{BB962C8B-B14F-4D97-AF65-F5344CB8AC3E}">
        <p14:creationId xmlns:p14="http://schemas.microsoft.com/office/powerpoint/2010/main" val="1386233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Прямая соединительная линия 4"/>
          <p:cNvCxnSpPr/>
          <p:nvPr/>
        </p:nvCxnSpPr>
        <p:spPr>
          <a:xfrm>
            <a:off x="571959" y="692696"/>
            <a:ext cx="8280920" cy="0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Прямоугольник 5"/>
          <p:cNvSpPr/>
          <p:nvPr/>
        </p:nvSpPr>
        <p:spPr>
          <a:xfrm>
            <a:off x="571959" y="144261"/>
            <a:ext cx="237116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EB-</a:t>
            </a:r>
            <a:r>
              <a:rPr lang="ru-RU" sz="2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лиринг</a:t>
            </a:r>
            <a:endParaRPr lang="ru-RU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>
            <a:off x="567290" y="4797152"/>
            <a:ext cx="8280920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Прямоугольник 11"/>
          <p:cNvSpPr/>
          <p:nvPr/>
        </p:nvSpPr>
        <p:spPr>
          <a:xfrm>
            <a:off x="567290" y="980728"/>
            <a:ext cx="7937411" cy="3754874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lvl="0" algn="just">
              <a:spcBef>
                <a:spcPts val="600"/>
              </a:spcBef>
              <a:spcAft>
                <a:spcPts val="600"/>
              </a:spcAft>
            </a:pPr>
            <a:r>
              <a:rPr lang="ru-RU" sz="1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 сегодняшний момент реализована </a:t>
            </a:r>
            <a:r>
              <a:rPr lang="ru-RU" sz="1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ервая версия Клирингового </a:t>
            </a:r>
            <a:r>
              <a:rPr lang="ru-RU" sz="1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ерминала - сервис </a:t>
            </a:r>
            <a:r>
              <a:rPr lang="en-US" sz="1400" b="1" dirty="0" smtClean="0">
                <a:solidFill>
                  <a:srgbClr val="C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EB-</a:t>
            </a:r>
            <a:r>
              <a:rPr lang="ru-RU" sz="1400" b="1" dirty="0" smtClean="0">
                <a:solidFill>
                  <a:srgbClr val="C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лиринг</a:t>
            </a:r>
            <a:r>
              <a:rPr lang="ru-RU" sz="1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:</a:t>
            </a:r>
            <a:endParaRPr lang="ru-RU" sz="1400" b="1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1450" indent="-171450" algn="just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еализованы все заявления, имеющиеся на текущий момент в </a:t>
            </a:r>
            <a:r>
              <a:rPr lang="ru-RU" sz="1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УКРМ. </a:t>
            </a:r>
            <a:r>
              <a:rPr lang="ru-RU" sz="1400" b="1" i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хватывает фондовый и валютный рынки.</a:t>
            </a:r>
            <a:endParaRPr lang="ru-RU" sz="1400" b="1" i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1450" lvl="0" indent="-171450" algn="just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Удобный </a:t>
            </a:r>
            <a:r>
              <a:rPr lang="en-US" sz="1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eb-</a:t>
            </a:r>
            <a:r>
              <a:rPr lang="ru-RU" sz="1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нтерфейс</a:t>
            </a:r>
          </a:p>
          <a:p>
            <a:pPr marL="171450" lvl="0" indent="-171450" algn="just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ысокая скорость ответа системы </a:t>
            </a:r>
          </a:p>
          <a:p>
            <a:pPr marL="171450" lvl="0" indent="-171450" algn="just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утентификация: сертификат ключа ЭДО </a:t>
            </a:r>
          </a:p>
          <a:p>
            <a:pPr marL="171450" lvl="0" indent="-171450" algn="just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озможность </a:t>
            </a:r>
            <a:r>
              <a:rPr lang="ru-RU" sz="1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дготовки шаблонов документов для стандартных </a:t>
            </a:r>
            <a:r>
              <a:rPr lang="ru-RU" sz="1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запросов </a:t>
            </a:r>
            <a:r>
              <a:rPr lang="ru-RU" sz="1400" b="1" i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Шаблон можно сохранить с мнемоническим именем</a:t>
            </a:r>
          </a:p>
          <a:p>
            <a:pPr marL="171450" lvl="0" indent="-171450" algn="just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еализован</a:t>
            </a:r>
            <a:r>
              <a:rPr lang="ru-RU" sz="1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</a:t>
            </a:r>
            <a:r>
              <a:rPr lang="ru-RU" sz="1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возможность двух подписей документов. </a:t>
            </a:r>
            <a:r>
              <a:rPr lang="ru-RU" sz="1400" b="1" i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пция задается при подключении к </a:t>
            </a:r>
            <a:r>
              <a:rPr lang="en-US" sz="1400" b="1" i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eb-</a:t>
            </a:r>
            <a:r>
              <a:rPr lang="ru-RU" sz="1400" b="1" i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лирингу</a:t>
            </a:r>
            <a:endParaRPr lang="ru-RU" sz="1400" b="1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1450" lvl="0" indent="-171450" algn="just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Единый интерфейс для фондового и валютного рынков</a:t>
            </a:r>
            <a:endParaRPr lang="en-US" sz="1400" b="1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575416" y="5229200"/>
            <a:ext cx="7960481" cy="83099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just"/>
            <a:r>
              <a:rPr lang="ru-RU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ервис </a:t>
            </a:r>
            <a:r>
              <a:rPr lang="en-US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EB-</a:t>
            </a:r>
            <a:r>
              <a:rPr lang="ru-RU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лиринг </a:t>
            </a: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едставляет собой </a:t>
            </a:r>
            <a:r>
              <a:rPr lang="ru-RU" sz="16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eb</a:t>
            </a: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-интерфейс, который позволяет формировать и направлять в НКЦ </a:t>
            </a:r>
            <a:r>
              <a:rPr lang="ru-RU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заявления </a:t>
            </a:r>
            <a:r>
              <a:rPr lang="en-US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/ </a:t>
            </a:r>
            <a:r>
              <a:rPr lang="ru-RU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запросы </a:t>
            </a: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 соответствии с формами и форматами документов на фондовом и на валютном рынках.</a:t>
            </a:r>
          </a:p>
        </p:txBody>
      </p:sp>
    </p:spTree>
    <p:extLst>
      <p:ext uri="{BB962C8B-B14F-4D97-AF65-F5344CB8AC3E}">
        <p14:creationId xmlns:p14="http://schemas.microsoft.com/office/powerpoint/2010/main" val="26788278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Прямая соединительная линия 4"/>
          <p:cNvCxnSpPr/>
          <p:nvPr/>
        </p:nvCxnSpPr>
        <p:spPr>
          <a:xfrm>
            <a:off x="571959" y="1000875"/>
            <a:ext cx="8280920" cy="0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Прямоугольник 5"/>
          <p:cNvSpPr/>
          <p:nvPr/>
        </p:nvSpPr>
        <p:spPr>
          <a:xfrm>
            <a:off x="571959" y="144261"/>
            <a:ext cx="3967753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EB-</a:t>
            </a:r>
            <a:r>
              <a:rPr lang="ru-RU" sz="2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лиринг:</a:t>
            </a:r>
          </a:p>
          <a:p>
            <a:r>
              <a:rPr lang="ru-RU" sz="2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рядок подключения </a:t>
            </a:r>
            <a:endParaRPr lang="ru-RU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>
            <a:off x="494919" y="5445224"/>
            <a:ext cx="8280920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Прямоугольник 7"/>
          <p:cNvSpPr/>
          <p:nvPr/>
        </p:nvSpPr>
        <p:spPr>
          <a:xfrm>
            <a:off x="571959" y="1051021"/>
            <a:ext cx="8126840" cy="5139869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lvl="0">
              <a:spcAft>
                <a:spcPts val="600"/>
              </a:spcAft>
            </a:pPr>
            <a:r>
              <a:rPr lang="ru-RU" b="1" dirty="0" smtClean="0">
                <a:solidFill>
                  <a:srgbClr val="C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дключение к системе </a:t>
            </a:r>
            <a:r>
              <a:rPr lang="en-US" b="1" dirty="0" smtClean="0">
                <a:solidFill>
                  <a:srgbClr val="C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eb-</a:t>
            </a:r>
            <a:r>
              <a:rPr lang="ru-RU" b="1" dirty="0" smtClean="0">
                <a:solidFill>
                  <a:srgbClr val="C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лиринг</a:t>
            </a:r>
            <a:r>
              <a:rPr lang="ru-RU" sz="1600" b="1" dirty="0" smtClean="0">
                <a:solidFill>
                  <a:srgbClr val="C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:</a:t>
            </a:r>
          </a:p>
          <a:p>
            <a:pPr marL="171450" lvl="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6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спользуются уже существующие сертификаты ключей</a:t>
            </a:r>
          </a:p>
          <a:p>
            <a:pPr marL="171450" lvl="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6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е требуется заключение договоров, установка нового ПО</a:t>
            </a:r>
          </a:p>
          <a:p>
            <a:pPr marL="171450" lvl="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6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е тарифицируется</a:t>
            </a:r>
            <a:endParaRPr lang="en-US" sz="1600" b="1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1450" lvl="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6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ожно использовать параллельно с УКРМ </a:t>
            </a:r>
          </a:p>
          <a:p>
            <a:pPr lvl="0">
              <a:spcBef>
                <a:spcPts val="1200"/>
              </a:spcBef>
              <a:spcAft>
                <a:spcPts val="600"/>
              </a:spcAft>
            </a:pPr>
            <a:r>
              <a:rPr lang="ru-RU" sz="1600" b="1" dirty="0" smtClean="0">
                <a:solidFill>
                  <a:srgbClr val="C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ействия для подключения:</a:t>
            </a:r>
          </a:p>
          <a:p>
            <a:pPr marL="342900" lvl="0" indent="-34290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ru-RU" sz="1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знакомиться с описанием сервиса на сайте НКЦ в разделе «</a:t>
            </a:r>
            <a:r>
              <a:rPr lang="en-US" sz="1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EB-</a:t>
            </a:r>
            <a:r>
              <a:rPr lang="ru-RU" sz="1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лиринг (Клиринговый терминал)»: </a:t>
            </a:r>
            <a:r>
              <a:rPr lang="en-US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hlinkClick r:id="rId2"/>
              </a:rPr>
              <a:t>http://nkcbank.ru/viewCatalog.do?menuKey=483</a:t>
            </a:r>
            <a:r>
              <a:rPr 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endParaRPr lang="ru-RU" sz="14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342900" lvl="0" indent="-34290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ru-RU" sz="1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Заполнить Заявление </a:t>
            </a:r>
            <a:r>
              <a:rPr lang="ru-RU" sz="1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 </a:t>
            </a:r>
            <a:r>
              <a:rPr lang="ru-RU" sz="1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дключение </a:t>
            </a:r>
            <a:r>
              <a:rPr lang="ru-RU" sz="1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 </a:t>
            </a:r>
            <a:r>
              <a:rPr lang="en-US" sz="1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eb-</a:t>
            </a:r>
            <a:r>
              <a:rPr lang="ru-RU" sz="1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лиринг</a:t>
            </a:r>
          </a:p>
          <a:p>
            <a:pPr marL="342900" lvl="0" indent="-34290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ru-RU" sz="1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править заполненное и подписанное ЭП Заявление по ЭДО на адрес: </a:t>
            </a:r>
            <a:r>
              <a:rPr lang="en-US" sz="1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hlinkClick r:id="rId3"/>
              </a:rPr>
              <a:t>oibd@moex.com</a:t>
            </a:r>
            <a:endParaRPr lang="ru-RU" sz="1400" b="1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342900" lvl="0" indent="-34290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ru-RU" sz="1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ш технический специалист свяжется с вами по контактам, указанным в Заявлении.</a:t>
            </a:r>
            <a:endParaRPr lang="en-US" sz="1400" b="1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endParaRPr lang="ru-RU" sz="1400" b="1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r>
              <a:rPr lang="ru-RU" sz="1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 вопросами по подключению можно обращаться в Отдел взаимодействия с Участниками клиринга: тел. (495) 363-32-32, </a:t>
            </a:r>
            <a:r>
              <a:rPr lang="en-US" sz="1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-mail:</a:t>
            </a:r>
            <a:r>
              <a:rPr lang="ru-RU" sz="1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1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hlinkClick r:id="rId4"/>
              </a:rPr>
              <a:t>ccl@moex.com</a:t>
            </a:r>
            <a:r>
              <a:rPr lang="en-US" sz="1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  <a:endParaRPr lang="ru-RU" sz="1400" b="1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" name="Солнце 2"/>
          <p:cNvSpPr/>
          <p:nvPr/>
        </p:nvSpPr>
        <p:spPr>
          <a:xfrm>
            <a:off x="5436096" y="2492896"/>
            <a:ext cx="144016" cy="144016"/>
          </a:xfrm>
          <a:prstGeom prst="sun">
            <a:avLst/>
          </a:prstGeom>
          <a:solidFill>
            <a:srgbClr val="FFC000"/>
          </a:solidFill>
          <a:ln w="31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987825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571959" y="144261"/>
            <a:ext cx="531587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абота в системе </a:t>
            </a:r>
            <a:r>
              <a:rPr lang="en-US" sz="2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EB-</a:t>
            </a:r>
            <a:r>
              <a:rPr lang="ru-RU" sz="2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лиринг </a:t>
            </a:r>
          </a:p>
        </p:txBody>
      </p:sp>
      <p:grpSp>
        <p:nvGrpSpPr>
          <p:cNvPr id="67" name="Группа 66"/>
          <p:cNvGrpSpPr/>
          <p:nvPr/>
        </p:nvGrpSpPr>
        <p:grpSpPr>
          <a:xfrm>
            <a:off x="571959" y="1196752"/>
            <a:ext cx="8326225" cy="4609539"/>
            <a:chOff x="592305" y="1642779"/>
            <a:chExt cx="8326225" cy="4609539"/>
          </a:xfrm>
        </p:grpSpPr>
        <p:pic>
          <p:nvPicPr>
            <p:cNvPr id="22" name="Рисунок 21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92305" y="1772816"/>
              <a:ext cx="737680" cy="463336"/>
            </a:xfrm>
            <a:prstGeom prst="rect">
              <a:avLst/>
            </a:prstGeom>
          </p:spPr>
        </p:pic>
        <p:grpSp>
          <p:nvGrpSpPr>
            <p:cNvPr id="13" name="Группа 12"/>
            <p:cNvGrpSpPr/>
            <p:nvPr/>
          </p:nvGrpSpPr>
          <p:grpSpPr>
            <a:xfrm>
              <a:off x="2122932" y="1756932"/>
              <a:ext cx="1610226" cy="463336"/>
              <a:chOff x="1619672" y="1772816"/>
              <a:chExt cx="1610226" cy="463336"/>
            </a:xfrm>
          </p:grpSpPr>
          <p:sp>
            <p:nvSpPr>
              <p:cNvPr id="11" name="Скругленный прямоугольник 10"/>
              <p:cNvSpPr/>
              <p:nvPr/>
            </p:nvSpPr>
            <p:spPr>
              <a:xfrm>
                <a:off x="1619672" y="1772816"/>
                <a:ext cx="1610226" cy="463336"/>
              </a:xfrm>
              <a:prstGeom prst="roundRect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0" name="TextBox 9"/>
              <p:cNvSpPr txBox="1"/>
              <p:nvPr/>
            </p:nvSpPr>
            <p:spPr>
              <a:xfrm>
                <a:off x="1704705" y="1819818"/>
                <a:ext cx="1440160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1600" dirty="0" smtClean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Авторизация</a:t>
                </a:r>
                <a:endParaRPr lang="ru-RU" sz="16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</p:grpSp>
        <p:grpSp>
          <p:nvGrpSpPr>
            <p:cNvPr id="25" name="Группа 24"/>
            <p:cNvGrpSpPr/>
            <p:nvPr/>
          </p:nvGrpSpPr>
          <p:grpSpPr>
            <a:xfrm>
              <a:off x="2771800" y="2802441"/>
              <a:ext cx="1440160" cy="864096"/>
              <a:chOff x="2843808" y="2708920"/>
              <a:chExt cx="1440160" cy="864096"/>
            </a:xfrm>
          </p:grpSpPr>
          <p:sp>
            <p:nvSpPr>
              <p:cNvPr id="23" name="Овал 22"/>
              <p:cNvSpPr/>
              <p:nvPr/>
            </p:nvSpPr>
            <p:spPr>
              <a:xfrm>
                <a:off x="2843808" y="2708920"/>
                <a:ext cx="1440160" cy="864096"/>
              </a:xfrm>
              <a:prstGeom prst="ellipse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24" name="TextBox 23"/>
              <p:cNvSpPr txBox="1"/>
              <p:nvPr/>
            </p:nvSpPr>
            <p:spPr>
              <a:xfrm>
                <a:off x="3059832" y="2817802"/>
                <a:ext cx="1008112" cy="58477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sz="1600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Главное меню</a:t>
                </a:r>
              </a:p>
            </p:txBody>
          </p:sp>
        </p:grpSp>
        <p:grpSp>
          <p:nvGrpSpPr>
            <p:cNvPr id="26" name="Группа 25"/>
            <p:cNvGrpSpPr/>
            <p:nvPr/>
          </p:nvGrpSpPr>
          <p:grpSpPr>
            <a:xfrm>
              <a:off x="4478586" y="1642779"/>
              <a:ext cx="2114718" cy="691642"/>
              <a:chOff x="1619672" y="1772816"/>
              <a:chExt cx="1610226" cy="717467"/>
            </a:xfrm>
          </p:grpSpPr>
          <p:sp>
            <p:nvSpPr>
              <p:cNvPr id="27" name="Скругленный прямоугольник 26"/>
              <p:cNvSpPr/>
              <p:nvPr/>
            </p:nvSpPr>
            <p:spPr>
              <a:xfrm>
                <a:off x="1619672" y="1772816"/>
                <a:ext cx="1610226" cy="717467"/>
              </a:xfrm>
              <a:prstGeom prst="roundRect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28" name="TextBox 27"/>
              <p:cNvSpPr txBox="1"/>
              <p:nvPr/>
            </p:nvSpPr>
            <p:spPr>
              <a:xfrm>
                <a:off x="1689602" y="1796317"/>
                <a:ext cx="1470364" cy="606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sz="1600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Работа в системе</a:t>
                </a:r>
              </a:p>
              <a:p>
                <a:pPr algn="ctr"/>
                <a:r>
                  <a:rPr lang="en-US" sz="1600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WEB-</a:t>
                </a:r>
                <a:r>
                  <a:rPr lang="ru-RU" sz="1600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клиринг</a:t>
                </a:r>
              </a:p>
            </p:txBody>
          </p:sp>
        </p:grpSp>
        <p:grpSp>
          <p:nvGrpSpPr>
            <p:cNvPr id="29" name="Группа 28"/>
            <p:cNvGrpSpPr/>
            <p:nvPr/>
          </p:nvGrpSpPr>
          <p:grpSpPr>
            <a:xfrm>
              <a:off x="7308304" y="1772321"/>
              <a:ext cx="1610226" cy="463336"/>
              <a:chOff x="1619672" y="1772816"/>
              <a:chExt cx="1610226" cy="463336"/>
            </a:xfrm>
          </p:grpSpPr>
          <p:sp>
            <p:nvSpPr>
              <p:cNvPr id="30" name="Скругленный прямоугольник 29"/>
              <p:cNvSpPr/>
              <p:nvPr/>
            </p:nvSpPr>
            <p:spPr>
              <a:xfrm>
                <a:off x="1619672" y="1772816"/>
                <a:ext cx="1610226" cy="463336"/>
              </a:xfrm>
              <a:prstGeom prst="roundRect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31" name="TextBox 30"/>
              <p:cNvSpPr txBox="1"/>
              <p:nvPr/>
            </p:nvSpPr>
            <p:spPr>
              <a:xfrm>
                <a:off x="1704705" y="1819818"/>
                <a:ext cx="1440160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sz="1600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Выход</a:t>
                </a:r>
              </a:p>
            </p:txBody>
          </p:sp>
        </p:grpSp>
        <p:grpSp>
          <p:nvGrpSpPr>
            <p:cNvPr id="32" name="Группа 31"/>
            <p:cNvGrpSpPr/>
            <p:nvPr/>
          </p:nvGrpSpPr>
          <p:grpSpPr>
            <a:xfrm>
              <a:off x="5152895" y="2674147"/>
              <a:ext cx="2513612" cy="601000"/>
              <a:chOff x="1619673" y="1772816"/>
              <a:chExt cx="1522969" cy="601000"/>
            </a:xfrm>
          </p:grpSpPr>
          <p:sp>
            <p:nvSpPr>
              <p:cNvPr id="33" name="Скругленный прямоугольник 32"/>
              <p:cNvSpPr/>
              <p:nvPr/>
            </p:nvSpPr>
            <p:spPr>
              <a:xfrm>
                <a:off x="1619673" y="1772816"/>
                <a:ext cx="1522969" cy="601000"/>
              </a:xfrm>
              <a:prstGeom prst="roundRect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34" name="TextBox 33"/>
              <p:cNvSpPr txBox="1"/>
              <p:nvPr/>
            </p:nvSpPr>
            <p:spPr>
              <a:xfrm>
                <a:off x="1704705" y="1819818"/>
                <a:ext cx="1437936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1400" dirty="0" smtClean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Создание запросов,  отправка на исполнение </a:t>
                </a:r>
                <a:endParaRPr lang="ru-RU" sz="14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</p:grpSp>
        <p:grpSp>
          <p:nvGrpSpPr>
            <p:cNvPr id="41" name="Группа 40"/>
            <p:cNvGrpSpPr/>
            <p:nvPr/>
          </p:nvGrpSpPr>
          <p:grpSpPr>
            <a:xfrm>
              <a:off x="5152894" y="3666537"/>
              <a:ext cx="2513612" cy="601000"/>
              <a:chOff x="1619673" y="1772816"/>
              <a:chExt cx="1522969" cy="601000"/>
            </a:xfrm>
          </p:grpSpPr>
          <p:sp>
            <p:nvSpPr>
              <p:cNvPr id="42" name="Скругленный прямоугольник 41"/>
              <p:cNvSpPr/>
              <p:nvPr/>
            </p:nvSpPr>
            <p:spPr>
              <a:xfrm>
                <a:off x="1619673" y="1772816"/>
                <a:ext cx="1522969" cy="601000"/>
              </a:xfrm>
              <a:prstGeom prst="roundRect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43" name="TextBox 42"/>
              <p:cNvSpPr txBox="1"/>
              <p:nvPr/>
            </p:nvSpPr>
            <p:spPr>
              <a:xfrm>
                <a:off x="1704705" y="1819818"/>
                <a:ext cx="1437936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1400" dirty="0" smtClean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Просмотр статусов исполнения запросов</a:t>
                </a:r>
                <a:endParaRPr lang="ru-RU" sz="14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</p:grpSp>
        <p:grpSp>
          <p:nvGrpSpPr>
            <p:cNvPr id="44" name="Группа 43"/>
            <p:cNvGrpSpPr/>
            <p:nvPr/>
          </p:nvGrpSpPr>
          <p:grpSpPr>
            <a:xfrm>
              <a:off x="5152896" y="4658928"/>
              <a:ext cx="2513612" cy="601000"/>
              <a:chOff x="1619673" y="1772816"/>
              <a:chExt cx="1522969" cy="601000"/>
            </a:xfrm>
          </p:grpSpPr>
          <p:sp>
            <p:nvSpPr>
              <p:cNvPr id="45" name="Скругленный прямоугольник 44"/>
              <p:cNvSpPr/>
              <p:nvPr/>
            </p:nvSpPr>
            <p:spPr>
              <a:xfrm>
                <a:off x="1619673" y="1772816"/>
                <a:ext cx="1522969" cy="601000"/>
              </a:xfrm>
              <a:prstGeom prst="roundRect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46" name="TextBox 45"/>
              <p:cNvSpPr txBox="1"/>
              <p:nvPr/>
            </p:nvSpPr>
            <p:spPr>
              <a:xfrm>
                <a:off x="1704705" y="1919427"/>
                <a:ext cx="1437936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1400" dirty="0" smtClean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Клиринговые отчеты</a:t>
                </a:r>
                <a:endParaRPr lang="ru-RU" sz="14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</p:grpSp>
        <p:grpSp>
          <p:nvGrpSpPr>
            <p:cNvPr id="47" name="Группа 46"/>
            <p:cNvGrpSpPr/>
            <p:nvPr/>
          </p:nvGrpSpPr>
          <p:grpSpPr>
            <a:xfrm>
              <a:off x="5152894" y="5651318"/>
              <a:ext cx="2513612" cy="601000"/>
              <a:chOff x="1619673" y="1772816"/>
              <a:chExt cx="1522969" cy="601000"/>
            </a:xfrm>
          </p:grpSpPr>
          <p:sp>
            <p:nvSpPr>
              <p:cNvPr id="48" name="Скругленный прямоугольник 47"/>
              <p:cNvSpPr/>
              <p:nvPr/>
            </p:nvSpPr>
            <p:spPr>
              <a:xfrm>
                <a:off x="1619673" y="1772816"/>
                <a:ext cx="1522969" cy="601000"/>
              </a:xfrm>
              <a:prstGeom prst="roundRect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49" name="TextBox 48"/>
              <p:cNvSpPr txBox="1"/>
              <p:nvPr/>
            </p:nvSpPr>
            <p:spPr>
              <a:xfrm>
                <a:off x="1704705" y="1819818"/>
                <a:ext cx="1437936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1400" dirty="0" smtClean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Объявления,</a:t>
                </a:r>
              </a:p>
              <a:p>
                <a:r>
                  <a:rPr lang="ru-RU" sz="1400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с</a:t>
                </a:r>
                <a:r>
                  <a:rPr lang="ru-RU" sz="1400" dirty="0" smtClean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правочная информация</a:t>
                </a:r>
                <a:endParaRPr lang="ru-RU" sz="14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</p:grpSp>
        <p:sp>
          <p:nvSpPr>
            <p:cNvPr id="52" name="Стрелка вправо 51"/>
            <p:cNvSpPr/>
            <p:nvPr/>
          </p:nvSpPr>
          <p:spPr>
            <a:xfrm>
              <a:off x="1437318" y="1901000"/>
              <a:ext cx="607667" cy="144422"/>
            </a:xfrm>
            <a:prstGeom prst="rightArrow">
              <a:avLst/>
            </a:prstGeom>
            <a:solidFill>
              <a:schemeClr val="bg1">
                <a:lumMod val="65000"/>
              </a:schemeClr>
            </a:solidFill>
            <a:ln w="317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3" name="Стрелка вправо 52"/>
            <p:cNvSpPr/>
            <p:nvPr/>
          </p:nvSpPr>
          <p:spPr>
            <a:xfrm>
              <a:off x="3802038" y="1931109"/>
              <a:ext cx="607667" cy="144422"/>
            </a:xfrm>
            <a:prstGeom prst="rightArrow">
              <a:avLst/>
            </a:prstGeom>
            <a:solidFill>
              <a:schemeClr val="bg1">
                <a:lumMod val="65000"/>
              </a:schemeClr>
            </a:solidFill>
            <a:ln w="317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4" name="Стрелка вправо 53"/>
            <p:cNvSpPr/>
            <p:nvPr/>
          </p:nvSpPr>
          <p:spPr>
            <a:xfrm>
              <a:off x="6634097" y="1927514"/>
              <a:ext cx="607667" cy="144422"/>
            </a:xfrm>
            <a:prstGeom prst="rightArrow">
              <a:avLst/>
            </a:prstGeom>
            <a:solidFill>
              <a:schemeClr val="bg1">
                <a:lumMod val="65000"/>
              </a:schemeClr>
            </a:solidFill>
            <a:ln w="317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cxnSp>
          <p:nvCxnSpPr>
            <p:cNvPr id="56" name="Прямая со стрелкой 55"/>
            <p:cNvCxnSpPr>
              <a:stCxn id="11" idx="2"/>
            </p:cNvCxnSpPr>
            <p:nvPr/>
          </p:nvCxnSpPr>
          <p:spPr>
            <a:xfrm>
              <a:off x="2928045" y="2220268"/>
              <a:ext cx="301853" cy="582173"/>
            </a:xfrm>
            <a:prstGeom prst="straightConnector1">
              <a:avLst/>
            </a:prstGeom>
            <a:ln w="19050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Прямая соединительная линия 59"/>
            <p:cNvCxnSpPr/>
            <p:nvPr/>
          </p:nvCxnSpPr>
          <p:spPr>
            <a:xfrm>
              <a:off x="4716016" y="2329150"/>
              <a:ext cx="37598" cy="3647003"/>
            </a:xfrm>
            <a:prstGeom prst="line">
              <a:avLst/>
            </a:prstGeom>
            <a:ln w="1905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Прямая со стрелкой 62"/>
            <p:cNvCxnSpPr/>
            <p:nvPr/>
          </p:nvCxnSpPr>
          <p:spPr>
            <a:xfrm flipV="1">
              <a:off x="4741363" y="2974647"/>
              <a:ext cx="411531" cy="8112"/>
            </a:xfrm>
            <a:prstGeom prst="straightConnector1">
              <a:avLst/>
            </a:prstGeom>
            <a:ln w="19050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Прямая со стрелкой 63"/>
            <p:cNvCxnSpPr/>
            <p:nvPr/>
          </p:nvCxnSpPr>
          <p:spPr>
            <a:xfrm flipV="1">
              <a:off x="4741363" y="3975149"/>
              <a:ext cx="411531" cy="8112"/>
            </a:xfrm>
            <a:prstGeom prst="straightConnector1">
              <a:avLst/>
            </a:prstGeom>
            <a:ln w="19050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Прямая со стрелкой 64"/>
            <p:cNvCxnSpPr/>
            <p:nvPr/>
          </p:nvCxnSpPr>
          <p:spPr>
            <a:xfrm flipV="1">
              <a:off x="4741363" y="4975651"/>
              <a:ext cx="411531" cy="8112"/>
            </a:xfrm>
            <a:prstGeom prst="straightConnector1">
              <a:avLst/>
            </a:prstGeom>
            <a:ln w="19050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Прямая со стрелкой 65"/>
            <p:cNvCxnSpPr/>
            <p:nvPr/>
          </p:nvCxnSpPr>
          <p:spPr>
            <a:xfrm flipV="1">
              <a:off x="4753615" y="5968041"/>
              <a:ext cx="411531" cy="8112"/>
            </a:xfrm>
            <a:prstGeom prst="straightConnector1">
              <a:avLst/>
            </a:prstGeom>
            <a:ln w="19050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68" name="Прямая со стрелкой 67"/>
          <p:cNvCxnSpPr/>
          <p:nvPr/>
        </p:nvCxnSpPr>
        <p:spPr>
          <a:xfrm flipV="1">
            <a:off x="4184804" y="2767550"/>
            <a:ext cx="510865" cy="9345"/>
          </a:xfrm>
          <a:prstGeom prst="straightConnector1">
            <a:avLst/>
          </a:prstGeom>
          <a:ln w="1905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TextBox 72"/>
          <p:cNvSpPr txBox="1"/>
          <p:nvPr/>
        </p:nvSpPr>
        <p:spPr>
          <a:xfrm>
            <a:off x="1008278" y="4975294"/>
            <a:ext cx="305582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ружественный, интуитивно понятный современный пользовательский интерфейс</a:t>
            </a:r>
          </a:p>
        </p:txBody>
      </p:sp>
      <p:cxnSp>
        <p:nvCxnSpPr>
          <p:cNvPr id="40" name="Прямая соединительная линия 39"/>
          <p:cNvCxnSpPr/>
          <p:nvPr/>
        </p:nvCxnSpPr>
        <p:spPr>
          <a:xfrm>
            <a:off x="571959" y="764704"/>
            <a:ext cx="8280920" cy="0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417343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571959" y="144261"/>
            <a:ext cx="627928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вторизация в системе </a:t>
            </a:r>
            <a:r>
              <a:rPr lang="en-US" sz="2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EB-</a:t>
            </a:r>
            <a:r>
              <a:rPr lang="ru-RU" sz="2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лиринг 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1959" y="836712"/>
            <a:ext cx="7600441" cy="4557078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593650" y="5624576"/>
            <a:ext cx="769471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вторизация в </a:t>
            </a:r>
            <a:r>
              <a:rPr lang="en-US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EB-</a:t>
            </a:r>
            <a:r>
              <a:rPr lang="ru-RU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лиринг: пункт «Регистрация» в меню.</a:t>
            </a:r>
          </a:p>
          <a:p>
            <a:r>
              <a:rPr lang="ru-RU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еобходимо ввести код пользователя + обеспечить доступ к файлу сертификата ключа.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22267" y="3573016"/>
            <a:ext cx="3228975" cy="1504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91304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p_PGoortUyp7ndG7iH0_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BM.StgMv0eF3SQ6U4CTl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BM.StgMv0eF3SQ6U4CTl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BM.StgMv0eF3SQ6U4CTl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BM.StgMv0eF3SQ6U4CTl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BM.StgMv0eF3SQ6U4CTl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BM.StgMv0eF3SQ6U4CTl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BM.StgMv0eF3SQ6U4CTl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p_PGoortUyp7ndG7iH0_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p_PGoortUyp7ndG7iH0_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p_PGoortUyp7ndG7iH0_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p_PGoortUyp7ndG7iH0_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p_PGoortUyp7ndG7iH0_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BM.StgMv0eF3SQ6U4CTl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BM.StgMv0eF3SQ6U4CTl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BM.StgMv0eF3SQ6U4CTlg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53107</TotalTime>
  <Words>1475</Words>
  <Application>Microsoft Office PowerPoint</Application>
  <PresentationFormat>Экран (4:3)</PresentationFormat>
  <Paragraphs>290</Paragraphs>
  <Slides>22</Slides>
  <Notes>0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22</vt:i4>
      </vt:variant>
    </vt:vector>
  </HeadingPairs>
  <TitlesOfParts>
    <vt:vector size="28" baseType="lpstr">
      <vt:lpstr>Arial</vt:lpstr>
      <vt:lpstr>Calibri</vt:lpstr>
      <vt:lpstr>Tahoma</vt:lpstr>
      <vt:lpstr>Verdana</vt:lpstr>
      <vt:lpstr>Wingdings</vt:lpstr>
      <vt:lpstr>Тема Office</vt:lpstr>
      <vt:lpstr>Клиринговый терминал: новая система документооборота  между участниками клиринга и НКЦ 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Лукашенко Елена Сергеевна</dc:creator>
  <cp:lastModifiedBy>Печерская Алла Евгеньевна</cp:lastModifiedBy>
  <cp:revision>392</cp:revision>
  <cp:lastPrinted>2016-10-17T11:06:44Z</cp:lastPrinted>
  <dcterms:created xsi:type="dcterms:W3CDTF">2015-09-11T07:27:00Z</dcterms:created>
  <dcterms:modified xsi:type="dcterms:W3CDTF">2016-10-24T11:29:26Z</dcterms:modified>
</cp:coreProperties>
</file>